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av" ContentType="audio/x-wav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ink/ink1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59" r:id="rId1"/>
  </p:sldMasterIdLst>
  <p:notesMasterIdLst>
    <p:notesMasterId r:id="rId23"/>
  </p:notesMasterIdLst>
  <p:handoutMasterIdLst>
    <p:handoutMasterId r:id="rId24"/>
  </p:handoutMasterIdLst>
  <p:sldIdLst>
    <p:sldId id="2145706199" r:id="rId2"/>
    <p:sldId id="2145708209" r:id="rId3"/>
    <p:sldId id="2145708115" r:id="rId4"/>
    <p:sldId id="2145708155" r:id="rId5"/>
    <p:sldId id="2145708210" r:id="rId6"/>
    <p:sldId id="2145708211" r:id="rId7"/>
    <p:sldId id="2145708207" r:id="rId8"/>
    <p:sldId id="2145708109" r:id="rId9"/>
    <p:sldId id="2131" r:id="rId10"/>
    <p:sldId id="2074" r:id="rId11"/>
    <p:sldId id="2145707801" r:id="rId12"/>
    <p:sldId id="278" r:id="rId13"/>
    <p:sldId id="289" r:id="rId14"/>
    <p:sldId id="280" r:id="rId15"/>
    <p:sldId id="282" r:id="rId16"/>
    <p:sldId id="287" r:id="rId17"/>
    <p:sldId id="291" r:id="rId18"/>
    <p:sldId id="294" r:id="rId19"/>
    <p:sldId id="293" r:id="rId20"/>
    <p:sldId id="2134805050" r:id="rId21"/>
    <p:sldId id="2145706726" r:id="rId22"/>
  </p:sldIdLst>
  <p:sldSz cx="24382413" cy="13716000"/>
  <p:notesSz cx="6858000" cy="9144000"/>
  <p:defaultTextStyle>
    <a:defPPr>
      <a:defRPr lang="ru-RU"/>
    </a:defPPr>
    <a:lvl1pPr marL="0" algn="l" defTabSz="1828595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1pPr>
    <a:lvl2pPr marL="914298" algn="l" defTabSz="1828595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2pPr>
    <a:lvl3pPr marL="1828595" algn="l" defTabSz="1828595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3pPr>
    <a:lvl4pPr marL="2742893" algn="l" defTabSz="1828595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4pPr>
    <a:lvl5pPr marL="3657189" algn="l" defTabSz="1828595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5pPr>
    <a:lvl6pPr marL="4571485" algn="l" defTabSz="1828595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6pPr>
    <a:lvl7pPr marL="5485784" algn="l" defTabSz="1828595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7pPr>
    <a:lvl8pPr marL="6400080" algn="l" defTabSz="1828595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8pPr>
    <a:lvl9pPr marL="7314378" algn="l" defTabSz="1828595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Гайдлайны" id="{FB0DBBD7-9CBB-7848-9A3B-1D09FC7B0CB2}">
          <p14:sldIdLst>
            <p14:sldId id="2145706199"/>
            <p14:sldId id="2145708209"/>
            <p14:sldId id="2145708115"/>
            <p14:sldId id="2145708155"/>
            <p14:sldId id="2145708210"/>
            <p14:sldId id="2145708211"/>
            <p14:sldId id="2145708207"/>
            <p14:sldId id="2145708109"/>
            <p14:sldId id="2131"/>
            <p14:sldId id="2074"/>
            <p14:sldId id="2145707801"/>
            <p14:sldId id="278"/>
            <p14:sldId id="289"/>
            <p14:sldId id="280"/>
            <p14:sldId id="282"/>
            <p14:sldId id="287"/>
            <p14:sldId id="291"/>
            <p14:sldId id="294"/>
            <p14:sldId id="293"/>
            <p14:sldId id="2134805050"/>
            <p14:sldId id="214570672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Natalia Zhuravlova" initials="" lastIdx="10" clrIdx="0"/>
  <p:cmAuthor id="1" name="tat.gratcheva@live.com" initials="t" lastIdx="8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22455"/>
    <a:srgbClr val="222555"/>
    <a:srgbClr val="4DB2EC"/>
    <a:srgbClr val="1E93B7"/>
    <a:srgbClr val="444D81"/>
    <a:srgbClr val="5F2844"/>
    <a:srgbClr val="2E3355"/>
    <a:srgbClr val="66083B"/>
    <a:srgbClr val="C7E228"/>
    <a:srgbClr val="245C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Светлый стиль 2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Светлый стиль 2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912C8C85-51F0-491E-9774-3900AFEF0FD7}" styleName="Светлый стиль 2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8D230F3-CF80-4859-8CE7-A43EE81993B5}" styleName="Светлый стиль 1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437" autoAdjust="0"/>
    <p:restoredTop sz="84727" autoAdjust="0"/>
  </p:normalViewPr>
  <p:slideViewPr>
    <p:cSldViewPr snapToGrid="0">
      <p:cViewPr>
        <p:scale>
          <a:sx n="43" d="100"/>
          <a:sy n="43" d="100"/>
        </p:scale>
        <p:origin x="1384" y="120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158" d="100"/>
          <a:sy n="158" d="100"/>
        </p:scale>
        <p:origin x="5640" y="200"/>
      </p:cViewPr>
      <p:guideLst/>
    </p:cSldViewPr>
  </p:notesViewPr>
  <p:gridSpacing cx="381600" cy="3816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2C5C60-F37A-814E-99F6-3C775637DBC0}" type="datetimeFigureOut">
              <a:rPr lang="ru-RU" smtClean="0"/>
              <a:t>14.02.2023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ABC657-1F7B-DB4E-9001-D45F1354705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443878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09-23T19:10:33.698"/>
    </inkml:context>
    <inkml:brush xml:id="br0">
      <inkml:brushProperty name="width" value="0.0265" units="cm"/>
      <inkml:brushProperty name="height" value="0.0265" units="cm"/>
    </inkml:brush>
  </inkml:definitions>
  <inkml:trace contextRef="#ctx0" brushRef="#br0">12437 5835 7296,'58'0'0,"0"-26"-2464,-30-2 64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8BA324-014D-41B7-8E83-ECE8F197A959}" type="datetimeFigureOut">
              <a:rPr lang="ru-RU" smtClean="0"/>
              <a:t>14.02.202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1397F6-5F69-4798-869B-9B0266F8F8FE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058443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5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7" algn="l" defTabSz="91435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54" algn="l" defTabSz="91435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31" algn="l" defTabSz="91435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91435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91435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63" algn="l" defTabSz="91435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91435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417" algn="l" defTabSz="91435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39F3BD-B703-EB45-96C2-7BD3512CBCED}" type="slidenum">
              <a:rPr lang="ru-RU" smtClean="0"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094853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10704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-  Внедрение отечественных решений</a:t>
            </a:r>
          </a:p>
          <a:p>
            <a:pPr marL="171450" indent="-171450">
              <a:buFontTx/>
              <a:buChar char="-"/>
            </a:pPr>
            <a:r>
              <a:rPr lang="ru-RU" dirty="0"/>
              <a:t>государство оказывает поддержку</a:t>
            </a:r>
          </a:p>
          <a:p>
            <a:pPr marL="171450" indent="-171450">
              <a:buFontTx/>
              <a:buChar char="-"/>
            </a:pPr>
            <a:r>
              <a:rPr lang="ru-RU" dirty="0"/>
              <a:t>можно воспользоваться поддержкой</a:t>
            </a:r>
          </a:p>
          <a:p>
            <a:pPr marL="171450" indent="-171450">
              <a:buFontTx/>
              <a:buChar char="-"/>
            </a:pPr>
            <a:r>
              <a:rPr lang="ru-RU" dirty="0"/>
              <a:t>можно получить субсидии</a:t>
            </a:r>
          </a:p>
        </p:txBody>
      </p:sp>
    </p:spTree>
    <p:extLst>
      <p:ext uri="{BB962C8B-B14F-4D97-AF65-F5344CB8AC3E}">
        <p14:creationId xmlns:p14="http://schemas.microsoft.com/office/powerpoint/2010/main" val="31535460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-  Внедрение отечественных решений</a:t>
            </a:r>
          </a:p>
          <a:p>
            <a:pPr marL="171450" indent="-171450">
              <a:buFontTx/>
              <a:buChar char="-"/>
            </a:pPr>
            <a:r>
              <a:rPr lang="ru-RU" dirty="0"/>
              <a:t>государство оказывает поддержку</a:t>
            </a:r>
          </a:p>
          <a:p>
            <a:pPr marL="171450" indent="-171450">
              <a:buFontTx/>
              <a:buChar char="-"/>
            </a:pPr>
            <a:r>
              <a:rPr lang="ru-RU" dirty="0"/>
              <a:t>можно воспользоваться поддержкой</a:t>
            </a:r>
          </a:p>
          <a:p>
            <a:pPr marL="171450" indent="-171450">
              <a:buFontTx/>
              <a:buChar char="-"/>
            </a:pPr>
            <a:r>
              <a:rPr lang="ru-RU" dirty="0"/>
              <a:t>можно получить субсидии</a:t>
            </a:r>
          </a:p>
        </p:txBody>
      </p:sp>
    </p:spTree>
    <p:extLst>
      <p:ext uri="{BB962C8B-B14F-4D97-AF65-F5344CB8AC3E}">
        <p14:creationId xmlns:p14="http://schemas.microsoft.com/office/powerpoint/2010/main" val="15507085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271824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604091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77257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95258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768606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846935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tif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http://4442028D1D486D8CEA103EE8F5DB299E.dms.sberbank.ru/4442028D1D486D8CEA103EE8F5DB299E-DB84C24130F573C112317B7BD40B8A1F-35C186FEBAC432CBBE251EFD9EC807C8/1.png" TargetMode="External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png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5.tif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5" Type="http://schemas.microsoft.com/office/2007/relationships/hdphoto" Target="../media/hdphoto1.wdp"/><Relationship Id="rId4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microsoft.com/office/2007/relationships/hdphoto" Target="../media/hdphoto2.wdp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microsoft.com/office/2007/relationships/hdphoto" Target="../media/hdphoto4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microsoft.com/office/2007/relationships/hdphoto" Target="../media/hdphoto3.wdp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 title="SberDevices">
            <a:extLst>
              <a:ext uri="{FF2B5EF4-FFF2-40B4-BE49-F238E27FC236}">
                <a16:creationId xmlns:a16="http://schemas.microsoft.com/office/drawing/2014/main" id="{9DFB4B99-9044-6243-9752-41FDB13617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5884" y="4682876"/>
            <a:ext cx="8222310" cy="3642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89685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ые слайды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1193A411-F524-9E4B-A395-44AB9470A22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61032" y="731981"/>
            <a:ext cx="17692156" cy="1450975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/>
              <a:t>Заголовок 48</a:t>
            </a:r>
          </a:p>
        </p:txBody>
      </p:sp>
      <p:sp>
        <p:nvSpPr>
          <p:cNvPr id="4" name="Текст 5">
            <a:extLst>
              <a:ext uri="{FF2B5EF4-FFF2-40B4-BE49-F238E27FC236}">
                <a16:creationId xmlns:a16="http://schemas.microsoft.com/office/drawing/2014/main" id="{C6D810DB-B249-E04E-9B3E-C3EB31497A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79563" y="12614275"/>
            <a:ext cx="17573625" cy="368300"/>
          </a:xfrm>
          <a:prstGeom prst="rect">
            <a:avLst/>
          </a:prstGeom>
        </p:spPr>
        <p:txBody>
          <a:bodyPr/>
          <a:lstStyle>
            <a:lvl1pPr>
              <a:defRPr lang="ru-RU" sz="2000" kern="1200" baseline="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ru-RU" sz="2000" kern="12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Нижний колонтитул</a:t>
            </a:r>
          </a:p>
        </p:txBody>
      </p:sp>
    </p:spTree>
    <p:extLst>
      <p:ext uri="{BB962C8B-B14F-4D97-AF65-F5344CB8AC3E}">
        <p14:creationId xmlns:p14="http://schemas.microsoft.com/office/powerpoint/2010/main" val="12810065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ые слайды_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478E60CF-304E-C84A-8857-8C25FAA287C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61032" y="653760"/>
            <a:ext cx="17692156" cy="1450975"/>
          </a:xfrm>
          <a:prstGeom prst="rect">
            <a:avLst/>
          </a:prstGeom>
        </p:spPr>
        <p:txBody>
          <a:bodyPr/>
          <a:lstStyle>
            <a:lvl1pPr>
              <a:defRPr sz="72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 72</a:t>
            </a:r>
          </a:p>
        </p:txBody>
      </p:sp>
      <p:sp>
        <p:nvSpPr>
          <p:cNvPr id="4" name="Текст 5">
            <a:extLst>
              <a:ext uri="{FF2B5EF4-FFF2-40B4-BE49-F238E27FC236}">
                <a16:creationId xmlns:a16="http://schemas.microsoft.com/office/drawing/2014/main" id="{109D67A1-7A64-E64E-BC8C-69DE5EBC74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79563" y="12614275"/>
            <a:ext cx="17573625" cy="368300"/>
          </a:xfrm>
          <a:prstGeom prst="rect">
            <a:avLst/>
          </a:prstGeom>
        </p:spPr>
        <p:txBody>
          <a:bodyPr/>
          <a:lstStyle>
            <a:lvl1pPr>
              <a:defRPr lang="ru-RU" sz="2000" kern="120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ru-RU" sz="2000" kern="12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Нижний колонтитул</a:t>
            </a:r>
          </a:p>
        </p:txBody>
      </p:sp>
    </p:spTree>
    <p:extLst>
      <p:ext uri="{BB962C8B-B14F-4D97-AF65-F5344CB8AC3E}">
        <p14:creationId xmlns:p14="http://schemas.microsoft.com/office/powerpoint/2010/main" val="29338612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ые слайды_5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5">
            <a:extLst>
              <a:ext uri="{FF2B5EF4-FFF2-40B4-BE49-F238E27FC236}">
                <a16:creationId xmlns:a16="http://schemas.microsoft.com/office/drawing/2014/main" id="{109D67A1-7A64-E64E-BC8C-69DE5EBC74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79563" y="12614275"/>
            <a:ext cx="17573625" cy="368300"/>
          </a:xfrm>
          <a:prstGeom prst="rect">
            <a:avLst/>
          </a:prstGeom>
        </p:spPr>
        <p:txBody>
          <a:bodyPr/>
          <a:lstStyle>
            <a:lvl1pPr>
              <a:defRPr lang="ru-RU" sz="2000" kern="120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ru-RU" sz="2000" kern="12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6" name="Текст 2">
            <a:extLst>
              <a:ext uri="{FF2B5EF4-FFF2-40B4-BE49-F238E27FC236}">
                <a16:creationId xmlns:a16="http://schemas.microsoft.com/office/drawing/2014/main" id="{A4074657-41A7-9345-B00C-0B725BF98F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61032" y="720435"/>
            <a:ext cx="17692156" cy="1450975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 48</a:t>
            </a:r>
          </a:p>
        </p:txBody>
      </p:sp>
    </p:spTree>
    <p:extLst>
      <p:ext uri="{BB962C8B-B14F-4D97-AF65-F5344CB8AC3E}">
        <p14:creationId xmlns:p14="http://schemas.microsoft.com/office/powerpoint/2010/main" val="27415778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Основные слайды_5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5">
            <a:extLst>
              <a:ext uri="{FF2B5EF4-FFF2-40B4-BE49-F238E27FC236}">
                <a16:creationId xmlns:a16="http://schemas.microsoft.com/office/drawing/2014/main" id="{109D67A1-7A64-E64E-BC8C-69DE5EBC74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79563" y="12614275"/>
            <a:ext cx="17573625" cy="368300"/>
          </a:xfrm>
          <a:prstGeom prst="rect">
            <a:avLst/>
          </a:prstGeom>
        </p:spPr>
        <p:txBody>
          <a:bodyPr/>
          <a:lstStyle>
            <a:lvl1pPr>
              <a:defRPr lang="ru-RU" sz="2000" kern="120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ru-RU" sz="2000" kern="12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6" name="Текст 2">
            <a:extLst>
              <a:ext uri="{FF2B5EF4-FFF2-40B4-BE49-F238E27FC236}">
                <a16:creationId xmlns:a16="http://schemas.microsoft.com/office/drawing/2014/main" id="{A4074657-41A7-9345-B00C-0B725BF98F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61032" y="720435"/>
            <a:ext cx="17692156" cy="1450975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dirty="0"/>
              <a:t>Заголовок 48</a:t>
            </a:r>
          </a:p>
        </p:txBody>
      </p:sp>
    </p:spTree>
    <p:extLst>
      <p:ext uri="{BB962C8B-B14F-4D97-AF65-F5344CB8AC3E}">
        <p14:creationId xmlns:p14="http://schemas.microsoft.com/office/powerpoint/2010/main" val="7901986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сновные слайды_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478E60CF-304E-C84A-8857-8C25FAA287C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61032" y="683925"/>
            <a:ext cx="17692156" cy="1450975"/>
          </a:xfrm>
          <a:prstGeom prst="rect">
            <a:avLst/>
          </a:prstGeom>
        </p:spPr>
        <p:txBody>
          <a:bodyPr/>
          <a:lstStyle>
            <a:lvl1pPr>
              <a:defRPr sz="72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 72</a:t>
            </a:r>
          </a:p>
        </p:txBody>
      </p:sp>
      <p:sp>
        <p:nvSpPr>
          <p:cNvPr id="4" name="Текст 5">
            <a:extLst>
              <a:ext uri="{FF2B5EF4-FFF2-40B4-BE49-F238E27FC236}">
                <a16:creationId xmlns:a16="http://schemas.microsoft.com/office/drawing/2014/main" id="{109D67A1-7A64-E64E-BC8C-69DE5EBC74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79563" y="12614275"/>
            <a:ext cx="17573625" cy="368300"/>
          </a:xfrm>
          <a:prstGeom prst="rect">
            <a:avLst/>
          </a:prstGeom>
        </p:spPr>
        <p:txBody>
          <a:bodyPr/>
          <a:lstStyle>
            <a:lvl1pPr>
              <a:defRPr lang="ru-RU" sz="2000" kern="120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ru-RU" sz="2000" kern="12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Нижний колонтитул</a:t>
            </a:r>
          </a:p>
        </p:txBody>
      </p:sp>
    </p:spTree>
    <p:extLst>
      <p:ext uri="{BB962C8B-B14F-4D97-AF65-F5344CB8AC3E}">
        <p14:creationId xmlns:p14="http://schemas.microsoft.com/office/powerpoint/2010/main" val="4997717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сновные слайды_5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>
            <a:extLst>
              <a:ext uri="{FF2B5EF4-FFF2-40B4-BE49-F238E27FC236}">
                <a16:creationId xmlns:a16="http://schemas.microsoft.com/office/drawing/2014/main" id="{02586B38-4B06-B647-91FB-82D36BB53F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062" r="2360"/>
          <a:stretch/>
        </p:blipFill>
        <p:spPr>
          <a:xfrm>
            <a:off x="10971214" y="1"/>
            <a:ext cx="13411200" cy="13716000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  <a:reflection stA="0" endPos="65000" dist="50800" dir="5400000" sy="-100000" algn="bl" rotWithShape="0"/>
          </a:effectLst>
        </p:spPr>
      </p:pic>
      <p:sp>
        <p:nvSpPr>
          <p:cNvPr id="4" name="Текст 5">
            <a:extLst>
              <a:ext uri="{FF2B5EF4-FFF2-40B4-BE49-F238E27FC236}">
                <a16:creationId xmlns:a16="http://schemas.microsoft.com/office/drawing/2014/main" id="{109D67A1-7A64-E64E-BC8C-69DE5EBC74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79563" y="12614275"/>
            <a:ext cx="17573625" cy="368300"/>
          </a:xfrm>
          <a:prstGeom prst="rect">
            <a:avLst/>
          </a:prstGeom>
        </p:spPr>
        <p:txBody>
          <a:bodyPr/>
          <a:lstStyle>
            <a:lvl1pPr>
              <a:defRPr lang="ru-RU" sz="2000" kern="120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ru-RU" sz="2000" kern="12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6" name="Текст 2">
            <a:extLst>
              <a:ext uri="{FF2B5EF4-FFF2-40B4-BE49-F238E27FC236}">
                <a16:creationId xmlns:a16="http://schemas.microsoft.com/office/drawing/2014/main" id="{A4074657-41A7-9345-B00C-0B725BF98F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61032" y="720435"/>
            <a:ext cx="17692156" cy="1450975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 48</a:t>
            </a:r>
          </a:p>
        </p:txBody>
      </p:sp>
    </p:spTree>
    <p:extLst>
      <p:ext uri="{BB962C8B-B14F-4D97-AF65-F5344CB8AC3E}">
        <p14:creationId xmlns:p14="http://schemas.microsoft.com/office/powerpoint/2010/main" val="365832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Основные слайды_5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>
            <a:extLst>
              <a:ext uri="{FF2B5EF4-FFF2-40B4-BE49-F238E27FC236}">
                <a16:creationId xmlns:a16="http://schemas.microsoft.com/office/drawing/2014/main" id="{E27392A9-9C74-F045-B237-C26AF2D030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062" r="2360"/>
          <a:stretch/>
        </p:blipFill>
        <p:spPr>
          <a:xfrm>
            <a:off x="10971214" y="1"/>
            <a:ext cx="13411200" cy="13716000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  <a:reflection stA="0" endPos="65000" dist="50800" dir="5400000" sy="-100000" algn="bl" rotWithShape="0"/>
          </a:effectLst>
        </p:spPr>
      </p:pic>
      <p:sp>
        <p:nvSpPr>
          <p:cNvPr id="4" name="Текст 5">
            <a:extLst>
              <a:ext uri="{FF2B5EF4-FFF2-40B4-BE49-F238E27FC236}">
                <a16:creationId xmlns:a16="http://schemas.microsoft.com/office/drawing/2014/main" id="{109D67A1-7A64-E64E-BC8C-69DE5EBC74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79563" y="12614275"/>
            <a:ext cx="17573625" cy="368300"/>
          </a:xfrm>
          <a:prstGeom prst="rect">
            <a:avLst/>
          </a:prstGeom>
        </p:spPr>
        <p:txBody>
          <a:bodyPr/>
          <a:lstStyle>
            <a:lvl1pPr>
              <a:defRPr lang="ru-RU" sz="2000" kern="120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ru-RU" sz="2000" kern="12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6" name="Текст 2">
            <a:extLst>
              <a:ext uri="{FF2B5EF4-FFF2-40B4-BE49-F238E27FC236}">
                <a16:creationId xmlns:a16="http://schemas.microsoft.com/office/drawing/2014/main" id="{A4074657-41A7-9345-B00C-0B725BF98F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61032" y="707589"/>
            <a:ext cx="17692156" cy="1450975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dirty="0"/>
              <a:t>Заголовок 48</a:t>
            </a:r>
          </a:p>
        </p:txBody>
      </p:sp>
    </p:spTree>
    <p:extLst>
      <p:ext uri="{BB962C8B-B14F-4D97-AF65-F5344CB8AC3E}">
        <p14:creationId xmlns:p14="http://schemas.microsoft.com/office/powerpoint/2010/main" val="5632296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Основные слайды_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>
            <a:extLst>
              <a:ext uri="{FF2B5EF4-FFF2-40B4-BE49-F238E27FC236}">
                <a16:creationId xmlns:a16="http://schemas.microsoft.com/office/drawing/2014/main" id="{15E1F6C7-1C93-A24E-B44D-D5626D5F5C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062" r="2360"/>
          <a:stretch/>
        </p:blipFill>
        <p:spPr>
          <a:xfrm rot="10800000">
            <a:off x="0" y="0"/>
            <a:ext cx="13411200" cy="13716000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  <a:reflection stA="0" endPos="65000" dist="50800" dir="5400000" sy="-100000" algn="bl" rotWithShape="0"/>
          </a:effectLst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77973A31-860F-D84A-829B-59DECFE6F2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28439" t="52053"/>
          <a:stretch/>
        </p:blipFill>
        <p:spPr>
          <a:xfrm>
            <a:off x="0" y="0"/>
            <a:ext cx="4632116" cy="3103563"/>
          </a:xfrm>
          <a:prstGeom prst="rect">
            <a:avLst/>
          </a:prstGeom>
        </p:spPr>
      </p:pic>
      <p:sp>
        <p:nvSpPr>
          <p:cNvPr id="3" name="Текст 2">
            <a:extLst>
              <a:ext uri="{FF2B5EF4-FFF2-40B4-BE49-F238E27FC236}">
                <a16:creationId xmlns:a16="http://schemas.microsoft.com/office/drawing/2014/main" id="{478E60CF-304E-C84A-8857-8C25FAA287C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61032" y="683925"/>
            <a:ext cx="17692156" cy="1450975"/>
          </a:xfrm>
          <a:prstGeom prst="rect">
            <a:avLst/>
          </a:prstGeom>
        </p:spPr>
        <p:txBody>
          <a:bodyPr/>
          <a:lstStyle>
            <a:lvl1pPr>
              <a:defRPr sz="72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 72</a:t>
            </a:r>
          </a:p>
        </p:txBody>
      </p:sp>
      <p:sp>
        <p:nvSpPr>
          <p:cNvPr id="4" name="Текст 5">
            <a:extLst>
              <a:ext uri="{FF2B5EF4-FFF2-40B4-BE49-F238E27FC236}">
                <a16:creationId xmlns:a16="http://schemas.microsoft.com/office/drawing/2014/main" id="{109D67A1-7A64-E64E-BC8C-69DE5EBC74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79563" y="12614275"/>
            <a:ext cx="17573625" cy="368300"/>
          </a:xfrm>
          <a:prstGeom prst="rect">
            <a:avLst/>
          </a:prstGeom>
        </p:spPr>
        <p:txBody>
          <a:bodyPr/>
          <a:lstStyle>
            <a:lvl1pPr>
              <a:defRPr lang="ru-RU" sz="2000" kern="120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ru-RU" sz="2000" kern="12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Нижний колонтитул</a:t>
            </a:r>
          </a:p>
        </p:txBody>
      </p:sp>
    </p:spTree>
    <p:extLst>
      <p:ext uri="{BB962C8B-B14F-4D97-AF65-F5344CB8AC3E}">
        <p14:creationId xmlns:p14="http://schemas.microsoft.com/office/powerpoint/2010/main" val="30602937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Основные слайды_5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>
            <a:extLst>
              <a:ext uri="{FF2B5EF4-FFF2-40B4-BE49-F238E27FC236}">
                <a16:creationId xmlns:a16="http://schemas.microsoft.com/office/drawing/2014/main" id="{00E4E817-4C7D-B544-A827-F4140DC5EC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062" r="2360"/>
          <a:stretch/>
        </p:blipFill>
        <p:spPr>
          <a:xfrm rot="10800000">
            <a:off x="0" y="0"/>
            <a:ext cx="13411200" cy="13716000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  <a:reflection stA="0" endPos="65000" dist="50800" dir="5400000" sy="-100000" algn="bl" rotWithShape="0"/>
          </a:effectLst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17751BC3-697D-6644-B9C8-123D7710F7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28439" t="52053"/>
          <a:stretch/>
        </p:blipFill>
        <p:spPr>
          <a:xfrm>
            <a:off x="0" y="0"/>
            <a:ext cx="4632116" cy="3103563"/>
          </a:xfrm>
          <a:prstGeom prst="rect">
            <a:avLst/>
          </a:prstGeom>
        </p:spPr>
      </p:pic>
      <p:sp>
        <p:nvSpPr>
          <p:cNvPr id="4" name="Текст 5">
            <a:extLst>
              <a:ext uri="{FF2B5EF4-FFF2-40B4-BE49-F238E27FC236}">
                <a16:creationId xmlns:a16="http://schemas.microsoft.com/office/drawing/2014/main" id="{109D67A1-7A64-E64E-BC8C-69DE5EBC74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79563" y="12614275"/>
            <a:ext cx="17573625" cy="368300"/>
          </a:xfrm>
          <a:prstGeom prst="rect">
            <a:avLst/>
          </a:prstGeom>
        </p:spPr>
        <p:txBody>
          <a:bodyPr/>
          <a:lstStyle>
            <a:lvl1pPr>
              <a:defRPr lang="ru-RU" sz="2000" kern="120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ru-RU" sz="2000" kern="12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6" name="Текст 2">
            <a:extLst>
              <a:ext uri="{FF2B5EF4-FFF2-40B4-BE49-F238E27FC236}">
                <a16:creationId xmlns:a16="http://schemas.microsoft.com/office/drawing/2014/main" id="{A4074657-41A7-9345-B00C-0B725BF98F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61032" y="720435"/>
            <a:ext cx="17692156" cy="1450975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Заголовок 48</a:t>
            </a:r>
          </a:p>
        </p:txBody>
      </p:sp>
    </p:spTree>
    <p:extLst>
      <p:ext uri="{BB962C8B-B14F-4D97-AF65-F5344CB8AC3E}">
        <p14:creationId xmlns:p14="http://schemas.microsoft.com/office/powerpoint/2010/main" val="36914191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Основные слайды_5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7">
            <a:extLst>
              <a:ext uri="{FF2B5EF4-FFF2-40B4-BE49-F238E27FC236}">
                <a16:creationId xmlns:a16="http://schemas.microsoft.com/office/drawing/2014/main" id="{E27392A9-9C74-F045-B237-C26AF2D030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062" r="2360"/>
          <a:stretch/>
        </p:blipFill>
        <p:spPr>
          <a:xfrm>
            <a:off x="10971214" y="1"/>
            <a:ext cx="13411200" cy="13716000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  <a:reflection stA="0" endPos="65000" dist="50800" dir="5400000" sy="-100000" algn="bl" rotWithShape="0"/>
          </a:effectLst>
        </p:spPr>
      </p:pic>
      <p:sp>
        <p:nvSpPr>
          <p:cNvPr id="4" name="Текст 5">
            <a:extLst>
              <a:ext uri="{FF2B5EF4-FFF2-40B4-BE49-F238E27FC236}">
                <a16:creationId xmlns:a16="http://schemas.microsoft.com/office/drawing/2014/main" id="{109D67A1-7A64-E64E-BC8C-69DE5EBC74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79563" y="12614275"/>
            <a:ext cx="17573625" cy="368300"/>
          </a:xfrm>
          <a:prstGeom prst="rect">
            <a:avLst/>
          </a:prstGeom>
        </p:spPr>
        <p:txBody>
          <a:bodyPr/>
          <a:lstStyle>
            <a:lvl1pPr>
              <a:defRPr lang="ru-RU" sz="2000" kern="120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ru-RU" sz="2000" kern="12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6" name="Текст 2">
            <a:extLst>
              <a:ext uri="{FF2B5EF4-FFF2-40B4-BE49-F238E27FC236}">
                <a16:creationId xmlns:a16="http://schemas.microsoft.com/office/drawing/2014/main" id="{A4074657-41A7-9345-B00C-0B725BF98F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61032" y="707266"/>
            <a:ext cx="17692156" cy="1450975"/>
          </a:xfrm>
          <a:prstGeom prst="rect">
            <a:avLst/>
          </a:prstGeom>
        </p:spPr>
        <p:txBody>
          <a:bodyPr/>
          <a:lstStyle>
            <a:lvl1pPr>
              <a:defRPr sz="4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ru-RU" dirty="0"/>
              <a:t>Заголовок 48</a:t>
            </a:r>
          </a:p>
        </p:txBody>
      </p:sp>
      <p:pic>
        <p:nvPicPr>
          <p:cNvPr id="8" name="object 19">
            <a:extLst>
              <a:ext uri="{FF2B5EF4-FFF2-40B4-BE49-F238E27FC236}">
                <a16:creationId xmlns:a16="http://schemas.microsoft.com/office/drawing/2014/main" id="{9EFD9D02-98D6-6D48-9B37-7D19FDFC6965}"/>
              </a:ext>
            </a:extLst>
          </p:cNvPr>
          <p:cNvPicPr/>
          <p:nvPr userDrawn="1"/>
        </p:nvPicPr>
        <p:blipFill>
          <a:blip r:embed="rId3" cstate="print"/>
          <a:stretch>
            <a:fillRect/>
          </a:stretch>
        </p:blipFill>
        <p:spPr>
          <a:xfrm>
            <a:off x="1579563" y="4526451"/>
            <a:ext cx="3455574" cy="542633"/>
          </a:xfrm>
          <a:prstGeom prst="rect">
            <a:avLst/>
          </a:prstGeom>
        </p:spPr>
      </p:pic>
      <p:pic>
        <p:nvPicPr>
          <p:cNvPr id="9" name="object 20">
            <a:extLst>
              <a:ext uri="{FF2B5EF4-FFF2-40B4-BE49-F238E27FC236}">
                <a16:creationId xmlns:a16="http://schemas.microsoft.com/office/drawing/2014/main" id="{9E51A7FA-C5E2-0345-8595-E00D17D23655}"/>
              </a:ext>
            </a:extLst>
          </p:cNvPr>
          <p:cNvPicPr/>
          <p:nvPr userDrawn="1"/>
        </p:nvPicPr>
        <p:blipFill>
          <a:blip r:embed="rId4" cstate="print"/>
          <a:stretch>
            <a:fillRect/>
          </a:stretch>
        </p:blipFill>
        <p:spPr>
          <a:xfrm>
            <a:off x="1296668" y="6231125"/>
            <a:ext cx="4368353" cy="1325701"/>
          </a:xfrm>
          <a:prstGeom prst="rect">
            <a:avLst/>
          </a:prstGeom>
        </p:spPr>
      </p:pic>
      <p:pic>
        <p:nvPicPr>
          <p:cNvPr id="10" name="object 21">
            <a:extLst>
              <a:ext uri="{FF2B5EF4-FFF2-40B4-BE49-F238E27FC236}">
                <a16:creationId xmlns:a16="http://schemas.microsoft.com/office/drawing/2014/main" id="{C1492E9E-33D2-3843-A799-13CFD9A591FF}"/>
              </a:ext>
            </a:extLst>
          </p:cNvPr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4684930" y="8403035"/>
            <a:ext cx="3729873" cy="550062"/>
          </a:xfrm>
          <a:prstGeom prst="rect">
            <a:avLst/>
          </a:prstGeom>
        </p:spPr>
      </p:pic>
      <p:pic>
        <p:nvPicPr>
          <p:cNvPr id="11" name="object 22">
            <a:extLst>
              <a:ext uri="{FF2B5EF4-FFF2-40B4-BE49-F238E27FC236}">
                <a16:creationId xmlns:a16="http://schemas.microsoft.com/office/drawing/2014/main" id="{004ED073-AEC0-F945-85E7-92AD239A0C9F}"/>
              </a:ext>
            </a:extLst>
          </p:cNvPr>
          <p:cNvPicPr/>
          <p:nvPr userDrawn="1"/>
        </p:nvPicPr>
        <p:blipFill>
          <a:blip r:embed="rId6" cstate="print"/>
          <a:stretch>
            <a:fillRect/>
          </a:stretch>
        </p:blipFill>
        <p:spPr>
          <a:xfrm>
            <a:off x="11989853" y="8116914"/>
            <a:ext cx="1600007" cy="1122303"/>
          </a:xfrm>
          <a:prstGeom prst="rect">
            <a:avLst/>
          </a:prstGeom>
        </p:spPr>
      </p:pic>
      <p:pic>
        <p:nvPicPr>
          <p:cNvPr id="12" name="object 23">
            <a:extLst>
              <a:ext uri="{FF2B5EF4-FFF2-40B4-BE49-F238E27FC236}">
                <a16:creationId xmlns:a16="http://schemas.microsoft.com/office/drawing/2014/main" id="{CBF9684C-6F10-0641-A70B-3CCF533F3831}"/>
              </a:ext>
            </a:extLst>
          </p:cNvPr>
          <p:cNvPicPr/>
          <p:nvPr userDrawn="1"/>
        </p:nvPicPr>
        <p:blipFill>
          <a:blip r:embed="rId7" cstate="print"/>
          <a:stretch>
            <a:fillRect/>
          </a:stretch>
        </p:blipFill>
        <p:spPr>
          <a:xfrm>
            <a:off x="7830833" y="6274814"/>
            <a:ext cx="3040066" cy="1217496"/>
          </a:xfrm>
          <a:prstGeom prst="rect">
            <a:avLst/>
          </a:prstGeom>
        </p:spPr>
      </p:pic>
      <p:pic>
        <p:nvPicPr>
          <p:cNvPr id="13" name="object 24">
            <a:extLst>
              <a:ext uri="{FF2B5EF4-FFF2-40B4-BE49-F238E27FC236}">
                <a16:creationId xmlns:a16="http://schemas.microsoft.com/office/drawing/2014/main" id="{C5527D0E-0339-E544-952A-4747F372E928}"/>
              </a:ext>
            </a:extLst>
          </p:cNvPr>
          <p:cNvPicPr/>
          <p:nvPr userDrawn="1"/>
        </p:nvPicPr>
        <p:blipFill>
          <a:blip r:embed="rId8" cstate="print"/>
          <a:stretch>
            <a:fillRect/>
          </a:stretch>
        </p:blipFill>
        <p:spPr>
          <a:xfrm>
            <a:off x="14165929" y="4526451"/>
            <a:ext cx="2828444" cy="996690"/>
          </a:xfrm>
          <a:prstGeom prst="rect">
            <a:avLst/>
          </a:prstGeom>
        </p:spPr>
      </p:pic>
      <p:pic>
        <p:nvPicPr>
          <p:cNvPr id="14" name="object 25">
            <a:extLst>
              <a:ext uri="{FF2B5EF4-FFF2-40B4-BE49-F238E27FC236}">
                <a16:creationId xmlns:a16="http://schemas.microsoft.com/office/drawing/2014/main" id="{6723AAD4-BAD5-4746-98EB-EA2511A25F68}"/>
              </a:ext>
            </a:extLst>
          </p:cNvPr>
          <p:cNvPicPr/>
          <p:nvPr userDrawn="1"/>
        </p:nvPicPr>
        <p:blipFill>
          <a:blip r:embed="rId9" cstate="print"/>
          <a:stretch>
            <a:fillRect/>
          </a:stretch>
        </p:blipFill>
        <p:spPr>
          <a:xfrm>
            <a:off x="7979974" y="4530440"/>
            <a:ext cx="3349905" cy="550902"/>
          </a:xfrm>
          <a:prstGeom prst="rect">
            <a:avLst/>
          </a:prstGeom>
        </p:spPr>
      </p:pic>
      <p:sp>
        <p:nvSpPr>
          <p:cNvPr id="15" name="object 28">
            <a:extLst>
              <a:ext uri="{FF2B5EF4-FFF2-40B4-BE49-F238E27FC236}">
                <a16:creationId xmlns:a16="http://schemas.microsoft.com/office/drawing/2014/main" id="{DA1130D6-43CA-7145-A336-5BB574215513}"/>
              </a:ext>
            </a:extLst>
          </p:cNvPr>
          <p:cNvSpPr/>
          <p:nvPr userDrawn="1"/>
        </p:nvSpPr>
        <p:spPr>
          <a:xfrm>
            <a:off x="16035206" y="6615610"/>
            <a:ext cx="1978660" cy="536575"/>
          </a:xfrm>
          <a:custGeom>
            <a:avLst/>
            <a:gdLst/>
            <a:ahLst/>
            <a:cxnLst/>
            <a:rect l="l" t="t" r="r" b="b"/>
            <a:pathLst>
              <a:path w="1978659" h="536575">
                <a:moveTo>
                  <a:pt x="1255134" y="85841"/>
                </a:moveTo>
                <a:lnTo>
                  <a:pt x="1162823" y="85841"/>
                </a:lnTo>
                <a:lnTo>
                  <a:pt x="1162823" y="460095"/>
                </a:lnTo>
                <a:lnTo>
                  <a:pt x="1264422" y="460095"/>
                </a:lnTo>
                <a:lnTo>
                  <a:pt x="1359455" y="346306"/>
                </a:lnTo>
                <a:lnTo>
                  <a:pt x="1253700" y="346306"/>
                </a:lnTo>
                <a:lnTo>
                  <a:pt x="1255134" y="85841"/>
                </a:lnTo>
                <a:close/>
              </a:path>
              <a:path w="1978659" h="536575">
                <a:moveTo>
                  <a:pt x="1574988" y="199630"/>
                </a:moveTo>
                <a:lnTo>
                  <a:pt x="1484122" y="199630"/>
                </a:lnTo>
                <a:lnTo>
                  <a:pt x="1482687" y="460095"/>
                </a:lnTo>
                <a:lnTo>
                  <a:pt x="1574988" y="460095"/>
                </a:lnTo>
                <a:lnTo>
                  <a:pt x="1574988" y="199630"/>
                </a:lnTo>
                <a:close/>
              </a:path>
              <a:path w="1978659" h="536575">
                <a:moveTo>
                  <a:pt x="1574988" y="85841"/>
                </a:moveTo>
                <a:lnTo>
                  <a:pt x="1473379" y="85841"/>
                </a:lnTo>
                <a:lnTo>
                  <a:pt x="1255846" y="346306"/>
                </a:lnTo>
                <a:lnTo>
                  <a:pt x="1359455" y="346306"/>
                </a:lnTo>
                <a:lnTo>
                  <a:pt x="1481954" y="199630"/>
                </a:lnTo>
                <a:lnTo>
                  <a:pt x="1574988" y="199630"/>
                </a:lnTo>
                <a:lnTo>
                  <a:pt x="1574988" y="85841"/>
                </a:lnTo>
                <a:close/>
              </a:path>
              <a:path w="1978659" h="536575">
                <a:moveTo>
                  <a:pt x="647603" y="85883"/>
                </a:moveTo>
                <a:lnTo>
                  <a:pt x="466572" y="85883"/>
                </a:lnTo>
                <a:lnTo>
                  <a:pt x="466572" y="460137"/>
                </a:lnTo>
                <a:lnTo>
                  <a:pt x="554579" y="460137"/>
                </a:lnTo>
                <a:lnTo>
                  <a:pt x="554579" y="323464"/>
                </a:lnTo>
                <a:lnTo>
                  <a:pt x="647603" y="323464"/>
                </a:lnTo>
                <a:lnTo>
                  <a:pt x="702592" y="315961"/>
                </a:lnTo>
                <a:lnTo>
                  <a:pt x="744031" y="293498"/>
                </a:lnTo>
                <a:lnTo>
                  <a:pt x="770173" y="256142"/>
                </a:lnTo>
                <a:lnTo>
                  <a:pt x="771288" y="249748"/>
                </a:lnTo>
                <a:lnTo>
                  <a:pt x="554579" y="249748"/>
                </a:lnTo>
                <a:lnTo>
                  <a:pt x="554579" y="159599"/>
                </a:lnTo>
                <a:lnTo>
                  <a:pt x="771805" y="159599"/>
                </a:lnTo>
                <a:lnTo>
                  <a:pt x="770474" y="151698"/>
                </a:lnTo>
                <a:lnTo>
                  <a:pt x="744835" y="114866"/>
                </a:lnTo>
                <a:lnTo>
                  <a:pt x="703498" y="93062"/>
                </a:lnTo>
                <a:lnTo>
                  <a:pt x="647603" y="85883"/>
                </a:lnTo>
                <a:close/>
              </a:path>
              <a:path w="1978659" h="536575">
                <a:moveTo>
                  <a:pt x="996095" y="85841"/>
                </a:moveTo>
                <a:lnTo>
                  <a:pt x="890904" y="85841"/>
                </a:lnTo>
                <a:lnTo>
                  <a:pt x="769966" y="460095"/>
                </a:lnTo>
                <a:lnTo>
                  <a:pt x="865858" y="460095"/>
                </a:lnTo>
                <a:lnTo>
                  <a:pt x="883020" y="399996"/>
                </a:lnTo>
                <a:lnTo>
                  <a:pt x="1098210" y="399996"/>
                </a:lnTo>
                <a:lnTo>
                  <a:pt x="1074030" y="325607"/>
                </a:lnTo>
                <a:lnTo>
                  <a:pt x="901637" y="325607"/>
                </a:lnTo>
                <a:lnTo>
                  <a:pt x="940285" y="170316"/>
                </a:lnTo>
                <a:lnTo>
                  <a:pt x="1023553" y="170316"/>
                </a:lnTo>
                <a:lnTo>
                  <a:pt x="996095" y="85841"/>
                </a:lnTo>
                <a:close/>
              </a:path>
              <a:path w="1978659" h="536575">
                <a:moveTo>
                  <a:pt x="1098210" y="399996"/>
                </a:moveTo>
                <a:lnTo>
                  <a:pt x="1001812" y="399996"/>
                </a:lnTo>
                <a:lnTo>
                  <a:pt x="1020429" y="460095"/>
                </a:lnTo>
                <a:lnTo>
                  <a:pt x="1117746" y="460095"/>
                </a:lnTo>
                <a:lnTo>
                  <a:pt x="1098210" y="399996"/>
                </a:lnTo>
                <a:close/>
              </a:path>
              <a:path w="1978659" h="536575">
                <a:moveTo>
                  <a:pt x="1023553" y="170316"/>
                </a:moveTo>
                <a:lnTo>
                  <a:pt x="942432" y="170316"/>
                </a:lnTo>
                <a:lnTo>
                  <a:pt x="980357" y="325607"/>
                </a:lnTo>
                <a:lnTo>
                  <a:pt x="1074030" y="325607"/>
                </a:lnTo>
                <a:lnTo>
                  <a:pt x="1023553" y="170316"/>
                </a:lnTo>
                <a:close/>
              </a:path>
              <a:path w="1978659" h="536575">
                <a:moveTo>
                  <a:pt x="771805" y="159599"/>
                </a:moveTo>
                <a:lnTo>
                  <a:pt x="645456" y="159599"/>
                </a:lnTo>
                <a:lnTo>
                  <a:pt x="665101" y="162605"/>
                </a:lnTo>
                <a:lnTo>
                  <a:pt x="679714" y="171311"/>
                </a:lnTo>
                <a:lnTo>
                  <a:pt x="688826" y="185246"/>
                </a:lnTo>
                <a:lnTo>
                  <a:pt x="691964" y="203959"/>
                </a:lnTo>
                <a:lnTo>
                  <a:pt x="688826" y="222877"/>
                </a:lnTo>
                <a:lnTo>
                  <a:pt x="679714" y="237315"/>
                </a:lnTo>
                <a:lnTo>
                  <a:pt x="665101" y="246517"/>
                </a:lnTo>
                <a:lnTo>
                  <a:pt x="645456" y="249748"/>
                </a:lnTo>
                <a:lnTo>
                  <a:pt x="771288" y="249748"/>
                </a:lnTo>
                <a:lnTo>
                  <a:pt x="779271" y="203938"/>
                </a:lnTo>
                <a:lnTo>
                  <a:pt x="771805" y="159599"/>
                </a:lnTo>
                <a:close/>
              </a:path>
              <a:path w="1978659" h="536575">
                <a:moveTo>
                  <a:pt x="1528477" y="0"/>
                </a:moveTo>
                <a:lnTo>
                  <a:pt x="1210769" y="0"/>
                </a:lnTo>
                <a:lnTo>
                  <a:pt x="1211491" y="64406"/>
                </a:lnTo>
                <a:lnTo>
                  <a:pt x="1528477" y="33622"/>
                </a:lnTo>
                <a:lnTo>
                  <a:pt x="1528477" y="0"/>
                </a:lnTo>
                <a:close/>
              </a:path>
              <a:path w="1978659" h="536575">
                <a:moveTo>
                  <a:pt x="1836184" y="86597"/>
                </a:moveTo>
                <a:lnTo>
                  <a:pt x="1650127" y="86597"/>
                </a:lnTo>
                <a:lnTo>
                  <a:pt x="1650127" y="460137"/>
                </a:lnTo>
                <a:lnTo>
                  <a:pt x="1844048" y="460137"/>
                </a:lnTo>
                <a:lnTo>
                  <a:pt x="1895252" y="455083"/>
                </a:lnTo>
                <a:lnTo>
                  <a:pt x="1938143" y="437952"/>
                </a:lnTo>
                <a:lnTo>
                  <a:pt x="1967619" y="405794"/>
                </a:lnTo>
                <a:lnTo>
                  <a:pt x="1971541" y="387851"/>
                </a:lnTo>
                <a:lnTo>
                  <a:pt x="1737423" y="387851"/>
                </a:lnTo>
                <a:lnTo>
                  <a:pt x="1737423" y="308439"/>
                </a:lnTo>
                <a:lnTo>
                  <a:pt x="1966695" y="308439"/>
                </a:lnTo>
                <a:lnTo>
                  <a:pt x="1965071" y="304672"/>
                </a:lnTo>
                <a:lnTo>
                  <a:pt x="1949291" y="286024"/>
                </a:lnTo>
                <a:lnTo>
                  <a:pt x="1928475" y="271938"/>
                </a:lnTo>
                <a:lnTo>
                  <a:pt x="1946132" y="257495"/>
                </a:lnTo>
                <a:lnTo>
                  <a:pt x="1959158" y="239025"/>
                </a:lnTo>
                <a:lnTo>
                  <a:pt x="1959682" y="237581"/>
                </a:lnTo>
                <a:lnTo>
                  <a:pt x="1737423" y="237581"/>
                </a:lnTo>
                <a:lnTo>
                  <a:pt x="1737423" y="158170"/>
                </a:lnTo>
                <a:lnTo>
                  <a:pt x="1962930" y="158170"/>
                </a:lnTo>
                <a:lnTo>
                  <a:pt x="1959239" y="140941"/>
                </a:lnTo>
                <a:lnTo>
                  <a:pt x="1930184" y="108782"/>
                </a:lnTo>
                <a:lnTo>
                  <a:pt x="1887579" y="91651"/>
                </a:lnTo>
                <a:lnTo>
                  <a:pt x="1836184" y="86597"/>
                </a:lnTo>
                <a:close/>
              </a:path>
              <a:path w="1978659" h="536575">
                <a:moveTo>
                  <a:pt x="1966695" y="308439"/>
                </a:moveTo>
                <a:lnTo>
                  <a:pt x="1845472" y="308439"/>
                </a:lnTo>
                <a:lnTo>
                  <a:pt x="1865197" y="310866"/>
                </a:lnTo>
                <a:lnTo>
                  <a:pt x="1879290" y="318190"/>
                </a:lnTo>
                <a:lnTo>
                  <a:pt x="1887750" y="330478"/>
                </a:lnTo>
                <a:lnTo>
                  <a:pt x="1890570" y="347798"/>
                </a:lnTo>
                <a:lnTo>
                  <a:pt x="1887850" y="365226"/>
                </a:lnTo>
                <a:lnTo>
                  <a:pt x="1879557" y="377753"/>
                </a:lnTo>
                <a:lnTo>
                  <a:pt x="1865497" y="385316"/>
                </a:lnTo>
                <a:lnTo>
                  <a:pt x="1845472" y="387851"/>
                </a:lnTo>
                <a:lnTo>
                  <a:pt x="1971541" y="387851"/>
                </a:lnTo>
                <a:lnTo>
                  <a:pt x="1978578" y="355657"/>
                </a:lnTo>
                <a:lnTo>
                  <a:pt x="1975078" y="327883"/>
                </a:lnTo>
                <a:lnTo>
                  <a:pt x="1966695" y="308439"/>
                </a:lnTo>
                <a:close/>
              </a:path>
              <a:path w="1978659" h="536575">
                <a:moveTo>
                  <a:pt x="1962930" y="158170"/>
                </a:moveTo>
                <a:lnTo>
                  <a:pt x="1837608" y="158170"/>
                </a:lnTo>
                <a:lnTo>
                  <a:pt x="1858159" y="160704"/>
                </a:lnTo>
                <a:lnTo>
                  <a:pt x="1872672" y="168267"/>
                </a:lnTo>
                <a:lnTo>
                  <a:pt x="1881280" y="180794"/>
                </a:lnTo>
                <a:lnTo>
                  <a:pt x="1884120" y="198222"/>
                </a:lnTo>
                <a:lnTo>
                  <a:pt x="1881280" y="216154"/>
                </a:lnTo>
                <a:lnTo>
                  <a:pt x="1872672" y="228374"/>
                </a:lnTo>
                <a:lnTo>
                  <a:pt x="1858159" y="235358"/>
                </a:lnTo>
                <a:lnTo>
                  <a:pt x="1837608" y="237581"/>
                </a:lnTo>
                <a:lnTo>
                  <a:pt x="1959682" y="237581"/>
                </a:lnTo>
                <a:lnTo>
                  <a:pt x="1967220" y="216797"/>
                </a:lnTo>
                <a:lnTo>
                  <a:pt x="1969981" y="191077"/>
                </a:lnTo>
                <a:lnTo>
                  <a:pt x="1962930" y="158170"/>
                </a:lnTo>
                <a:close/>
              </a:path>
              <a:path w="1978659" h="536575">
                <a:moveTo>
                  <a:pt x="416479" y="384971"/>
                </a:moveTo>
                <a:lnTo>
                  <a:pt x="0" y="384971"/>
                </a:lnTo>
                <a:lnTo>
                  <a:pt x="0" y="535955"/>
                </a:lnTo>
                <a:lnTo>
                  <a:pt x="88740" y="535955"/>
                </a:lnTo>
                <a:lnTo>
                  <a:pt x="88740" y="459402"/>
                </a:lnTo>
                <a:lnTo>
                  <a:pt x="416479" y="459402"/>
                </a:lnTo>
                <a:lnTo>
                  <a:pt x="416479" y="384971"/>
                </a:lnTo>
                <a:close/>
              </a:path>
              <a:path w="1978659" h="536575">
                <a:moveTo>
                  <a:pt x="416479" y="459402"/>
                </a:moveTo>
                <a:lnTo>
                  <a:pt x="328471" y="459402"/>
                </a:lnTo>
                <a:lnTo>
                  <a:pt x="328471" y="535262"/>
                </a:lnTo>
                <a:lnTo>
                  <a:pt x="416479" y="535262"/>
                </a:lnTo>
                <a:lnTo>
                  <a:pt x="416479" y="459402"/>
                </a:lnTo>
                <a:close/>
              </a:path>
              <a:path w="1978659" h="536575">
                <a:moveTo>
                  <a:pt x="369967" y="85862"/>
                </a:moveTo>
                <a:lnTo>
                  <a:pt x="80866" y="85862"/>
                </a:lnTo>
                <a:lnTo>
                  <a:pt x="74437" y="261894"/>
                </a:lnTo>
                <a:lnTo>
                  <a:pt x="71787" y="294815"/>
                </a:lnTo>
                <a:lnTo>
                  <a:pt x="65583" y="325584"/>
                </a:lnTo>
                <a:lnTo>
                  <a:pt x="55214" y="355276"/>
                </a:lnTo>
                <a:lnTo>
                  <a:pt x="40072" y="384971"/>
                </a:lnTo>
                <a:lnTo>
                  <a:pt x="369967" y="384971"/>
                </a:lnTo>
                <a:lnTo>
                  <a:pt x="369967" y="384236"/>
                </a:lnTo>
                <a:lnTo>
                  <a:pt x="130247" y="384236"/>
                </a:lnTo>
                <a:lnTo>
                  <a:pt x="141952" y="358190"/>
                </a:lnTo>
                <a:lnTo>
                  <a:pt x="150372" y="329860"/>
                </a:lnTo>
                <a:lnTo>
                  <a:pt x="155706" y="299919"/>
                </a:lnTo>
                <a:lnTo>
                  <a:pt x="158153" y="269038"/>
                </a:lnTo>
                <a:lnTo>
                  <a:pt x="161722" y="160313"/>
                </a:lnTo>
                <a:lnTo>
                  <a:pt x="369967" y="160313"/>
                </a:lnTo>
                <a:lnTo>
                  <a:pt x="369967" y="85862"/>
                </a:lnTo>
                <a:close/>
              </a:path>
              <a:path w="1978659" h="536575">
                <a:moveTo>
                  <a:pt x="369967" y="160313"/>
                </a:moveTo>
                <a:lnTo>
                  <a:pt x="281227" y="160313"/>
                </a:lnTo>
                <a:lnTo>
                  <a:pt x="281227" y="384236"/>
                </a:lnTo>
                <a:lnTo>
                  <a:pt x="369967" y="384236"/>
                </a:lnTo>
                <a:lnTo>
                  <a:pt x="369967" y="160313"/>
                </a:lnTo>
                <a:close/>
              </a:path>
              <a:path w="1978659" h="536575">
                <a:moveTo>
                  <a:pt x="158153" y="269038"/>
                </a:moveTo>
                <a:close/>
              </a:path>
            </a:pathLst>
          </a:custGeom>
          <a:solidFill>
            <a:srgbClr val="32D2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29">
            <a:extLst>
              <a:ext uri="{FF2B5EF4-FFF2-40B4-BE49-F238E27FC236}">
                <a16:creationId xmlns:a16="http://schemas.microsoft.com/office/drawing/2014/main" id="{148AF05A-3E7F-534A-AB0D-2E96942BA7A0}"/>
              </a:ext>
            </a:extLst>
          </p:cNvPr>
          <p:cNvSpPr/>
          <p:nvPr userDrawn="1"/>
        </p:nvSpPr>
        <p:spPr>
          <a:xfrm>
            <a:off x="14399413" y="6692876"/>
            <a:ext cx="1590040" cy="391160"/>
          </a:xfrm>
          <a:custGeom>
            <a:avLst/>
            <a:gdLst/>
            <a:ahLst/>
            <a:cxnLst/>
            <a:rect l="l" t="t" r="r" b="b"/>
            <a:pathLst>
              <a:path w="1590040" h="391159">
                <a:moveTo>
                  <a:pt x="230411" y="0"/>
                </a:moveTo>
                <a:lnTo>
                  <a:pt x="173040" y="4386"/>
                </a:lnTo>
                <a:lnTo>
                  <a:pt x="122777" y="17169"/>
                </a:lnTo>
                <a:lnTo>
                  <a:pt x="80247" y="37811"/>
                </a:lnTo>
                <a:lnTo>
                  <a:pt x="46079" y="65774"/>
                </a:lnTo>
                <a:lnTo>
                  <a:pt x="20897" y="100522"/>
                </a:lnTo>
                <a:lnTo>
                  <a:pt x="5328" y="141516"/>
                </a:lnTo>
                <a:lnTo>
                  <a:pt x="0" y="188220"/>
                </a:lnTo>
                <a:lnTo>
                  <a:pt x="0" y="202510"/>
                </a:lnTo>
                <a:lnTo>
                  <a:pt x="5328" y="249438"/>
                </a:lnTo>
                <a:lnTo>
                  <a:pt x="20897" y="290520"/>
                </a:lnTo>
                <a:lnTo>
                  <a:pt x="46079" y="325254"/>
                </a:lnTo>
                <a:lnTo>
                  <a:pt x="80247" y="353140"/>
                </a:lnTo>
                <a:lnTo>
                  <a:pt x="122777" y="373678"/>
                </a:lnTo>
                <a:lnTo>
                  <a:pt x="173040" y="386368"/>
                </a:lnTo>
                <a:lnTo>
                  <a:pt x="230411" y="390709"/>
                </a:lnTo>
                <a:lnTo>
                  <a:pt x="282052" y="388242"/>
                </a:lnTo>
                <a:lnTo>
                  <a:pt x="330983" y="379215"/>
                </a:lnTo>
                <a:lnTo>
                  <a:pt x="375346" y="361188"/>
                </a:lnTo>
                <a:lnTo>
                  <a:pt x="413287" y="331720"/>
                </a:lnTo>
                <a:lnTo>
                  <a:pt x="427780" y="310541"/>
                </a:lnTo>
                <a:lnTo>
                  <a:pt x="230411" y="310541"/>
                </a:lnTo>
                <a:lnTo>
                  <a:pt x="172066" y="303243"/>
                </a:lnTo>
                <a:lnTo>
                  <a:pt x="130230" y="281658"/>
                </a:lnTo>
                <a:lnTo>
                  <a:pt x="105032" y="246251"/>
                </a:lnTo>
                <a:lnTo>
                  <a:pt x="96604" y="197488"/>
                </a:lnTo>
                <a:lnTo>
                  <a:pt x="96604" y="192486"/>
                </a:lnTo>
                <a:lnTo>
                  <a:pt x="105032" y="143722"/>
                </a:lnTo>
                <a:lnTo>
                  <a:pt x="130230" y="108315"/>
                </a:lnTo>
                <a:lnTo>
                  <a:pt x="172066" y="86730"/>
                </a:lnTo>
                <a:lnTo>
                  <a:pt x="230411" y="79432"/>
                </a:lnTo>
                <a:lnTo>
                  <a:pt x="427780" y="79432"/>
                </a:lnTo>
                <a:lnTo>
                  <a:pt x="413348" y="58338"/>
                </a:lnTo>
                <a:lnTo>
                  <a:pt x="375542" y="29054"/>
                </a:lnTo>
                <a:lnTo>
                  <a:pt x="331284" y="11241"/>
                </a:lnTo>
                <a:lnTo>
                  <a:pt x="282324" y="2392"/>
                </a:lnTo>
                <a:lnTo>
                  <a:pt x="230411" y="0"/>
                </a:lnTo>
                <a:close/>
              </a:path>
              <a:path w="1590040" h="391159">
                <a:moveTo>
                  <a:pt x="355633" y="250442"/>
                </a:moveTo>
                <a:lnTo>
                  <a:pt x="332147" y="280665"/>
                </a:lnTo>
                <a:lnTo>
                  <a:pt x="302956" y="299010"/>
                </a:lnTo>
                <a:lnTo>
                  <a:pt x="268798" y="308095"/>
                </a:lnTo>
                <a:lnTo>
                  <a:pt x="230411" y="310541"/>
                </a:lnTo>
                <a:lnTo>
                  <a:pt x="427780" y="310541"/>
                </a:lnTo>
                <a:lnTo>
                  <a:pt x="442935" y="288393"/>
                </a:lnTo>
                <a:lnTo>
                  <a:pt x="355633" y="250442"/>
                </a:lnTo>
                <a:close/>
              </a:path>
              <a:path w="1590040" h="391159">
                <a:moveTo>
                  <a:pt x="427780" y="79432"/>
                </a:moveTo>
                <a:lnTo>
                  <a:pt x="230411" y="79432"/>
                </a:lnTo>
                <a:lnTo>
                  <a:pt x="268799" y="81777"/>
                </a:lnTo>
                <a:lnTo>
                  <a:pt x="302959" y="90695"/>
                </a:lnTo>
                <a:lnTo>
                  <a:pt x="332156" y="109006"/>
                </a:lnTo>
                <a:lnTo>
                  <a:pt x="355654" y="139531"/>
                </a:lnTo>
                <a:lnTo>
                  <a:pt x="442949" y="101602"/>
                </a:lnTo>
                <a:lnTo>
                  <a:pt x="427780" y="79432"/>
                </a:lnTo>
                <a:close/>
              </a:path>
              <a:path w="1590040" h="391159">
                <a:moveTo>
                  <a:pt x="1270139" y="8574"/>
                </a:moveTo>
                <a:lnTo>
                  <a:pt x="1177838" y="8574"/>
                </a:lnTo>
                <a:lnTo>
                  <a:pt x="1177838" y="382829"/>
                </a:lnTo>
                <a:lnTo>
                  <a:pt x="1279447" y="382829"/>
                </a:lnTo>
                <a:lnTo>
                  <a:pt x="1374463" y="269060"/>
                </a:lnTo>
                <a:lnTo>
                  <a:pt x="1268704" y="269060"/>
                </a:lnTo>
                <a:lnTo>
                  <a:pt x="1270160" y="8595"/>
                </a:lnTo>
                <a:close/>
              </a:path>
              <a:path w="1590040" h="391159">
                <a:moveTo>
                  <a:pt x="1590003" y="122363"/>
                </a:moveTo>
                <a:lnTo>
                  <a:pt x="1499127" y="122363"/>
                </a:lnTo>
                <a:lnTo>
                  <a:pt x="1497692" y="382829"/>
                </a:lnTo>
                <a:lnTo>
                  <a:pt x="1590003" y="382829"/>
                </a:lnTo>
                <a:lnTo>
                  <a:pt x="1590003" y="122363"/>
                </a:lnTo>
                <a:close/>
              </a:path>
              <a:path w="1590040" h="391159">
                <a:moveTo>
                  <a:pt x="1590003" y="8574"/>
                </a:moveTo>
                <a:lnTo>
                  <a:pt x="1488384" y="8574"/>
                </a:lnTo>
                <a:lnTo>
                  <a:pt x="1270872" y="269060"/>
                </a:lnTo>
                <a:lnTo>
                  <a:pt x="1374463" y="269060"/>
                </a:lnTo>
                <a:lnTo>
                  <a:pt x="1496980" y="122363"/>
                </a:lnTo>
                <a:lnTo>
                  <a:pt x="1590003" y="122363"/>
                </a:lnTo>
                <a:lnTo>
                  <a:pt x="1590003" y="8574"/>
                </a:lnTo>
                <a:close/>
              </a:path>
              <a:path w="1590040" h="391159">
                <a:moveTo>
                  <a:pt x="576034" y="8574"/>
                </a:moveTo>
                <a:lnTo>
                  <a:pt x="493021" y="8574"/>
                </a:lnTo>
                <a:lnTo>
                  <a:pt x="493021" y="382829"/>
                </a:lnTo>
                <a:lnTo>
                  <a:pt x="590338" y="382829"/>
                </a:lnTo>
                <a:lnTo>
                  <a:pt x="649807" y="261159"/>
                </a:lnTo>
                <a:lnTo>
                  <a:pt x="570317" y="261159"/>
                </a:lnTo>
                <a:lnTo>
                  <a:pt x="576034" y="8574"/>
                </a:lnTo>
                <a:close/>
              </a:path>
              <a:path w="1590040" h="391159">
                <a:moveTo>
                  <a:pt x="794279" y="129508"/>
                </a:moveTo>
                <a:lnTo>
                  <a:pt x="716292" y="129508"/>
                </a:lnTo>
                <a:lnTo>
                  <a:pt x="710564" y="382829"/>
                </a:lnTo>
                <a:lnTo>
                  <a:pt x="794279" y="382829"/>
                </a:lnTo>
                <a:lnTo>
                  <a:pt x="794279" y="129508"/>
                </a:lnTo>
                <a:close/>
              </a:path>
              <a:path w="1590040" h="391159">
                <a:moveTo>
                  <a:pt x="794279" y="8574"/>
                </a:moveTo>
                <a:lnTo>
                  <a:pt x="696251" y="8574"/>
                </a:lnTo>
                <a:lnTo>
                  <a:pt x="572474" y="261159"/>
                </a:lnTo>
                <a:lnTo>
                  <a:pt x="649807" y="261159"/>
                </a:lnTo>
                <a:lnTo>
                  <a:pt x="714156" y="129508"/>
                </a:lnTo>
                <a:lnTo>
                  <a:pt x="794279" y="129508"/>
                </a:lnTo>
                <a:lnTo>
                  <a:pt x="794279" y="8574"/>
                </a:lnTo>
                <a:close/>
              </a:path>
              <a:path w="1590040" h="391159">
                <a:moveTo>
                  <a:pt x="1029696" y="82311"/>
                </a:moveTo>
                <a:lnTo>
                  <a:pt x="943123" y="82311"/>
                </a:lnTo>
                <a:lnTo>
                  <a:pt x="943123" y="382829"/>
                </a:lnTo>
                <a:lnTo>
                  <a:pt x="1029696" y="382829"/>
                </a:lnTo>
                <a:lnTo>
                  <a:pt x="1029696" y="82311"/>
                </a:lnTo>
                <a:close/>
              </a:path>
              <a:path w="1590040" h="391159">
                <a:moveTo>
                  <a:pt x="1129892" y="8574"/>
                </a:moveTo>
                <a:lnTo>
                  <a:pt x="842948" y="8574"/>
                </a:lnTo>
                <a:lnTo>
                  <a:pt x="842948" y="82332"/>
                </a:lnTo>
                <a:lnTo>
                  <a:pt x="943123" y="82332"/>
                </a:lnTo>
                <a:lnTo>
                  <a:pt x="1129892" y="82311"/>
                </a:lnTo>
                <a:lnTo>
                  <a:pt x="1129892" y="8574"/>
                </a:lnTo>
                <a:close/>
              </a:path>
            </a:pathLst>
          </a:custGeom>
          <a:solidFill>
            <a:srgbClr val="6E00BE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323190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_ маленький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5">
            <a:extLst>
              <a:ext uri="{FF2B5EF4-FFF2-40B4-BE49-F238E27FC236}">
                <a16:creationId xmlns:a16="http://schemas.microsoft.com/office/drawing/2014/main" id="{9953ACE8-BC14-9944-A3B1-C287C41610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79563" y="12614275"/>
            <a:ext cx="17573625" cy="368300"/>
          </a:xfrm>
          <a:prstGeom prst="rect">
            <a:avLst/>
          </a:prstGeom>
        </p:spPr>
        <p:txBody>
          <a:bodyPr/>
          <a:lstStyle>
            <a:lvl1pPr>
              <a:defRPr lang="ru-RU" sz="2000" kern="1200" baseline="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ru-RU" sz="2000" kern="12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3E968C9-994D-264F-A4E1-AE2D89FC391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84000" y="3822700"/>
            <a:ext cx="21232800" cy="7693700"/>
          </a:xfrm>
          <a:prstGeom prst="rect">
            <a:avLst/>
          </a:prstGeom>
        </p:spPr>
        <p:txBody>
          <a:bodyPr vert="horz" lIns="0" tIns="288000" rIns="0" bIns="0" rtlCol="0" anchor="t">
            <a:noAutofit/>
          </a:bodyPr>
          <a:lstStyle>
            <a:lvl1pPr marL="0" marR="0" indent="0" algn="l" defTabSz="182861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1000" b="0" dirty="0"/>
            </a:lvl1pPr>
          </a:lstStyle>
          <a:p>
            <a:pPr marR="0" lvl="0" indent="0" fontAlgn="auto">
              <a:lnSpc>
                <a:spcPts val="12000"/>
              </a:lnSpc>
              <a:spcAft>
                <a:spcPts val="0"/>
              </a:spcAft>
              <a:buClrTx/>
              <a:buSzTx/>
              <a:buFontTx/>
              <a:tabLst/>
            </a:pPr>
            <a:r>
              <a:rPr lang="ru-RU" dirty="0"/>
              <a:t>Длинный заголовок</a:t>
            </a:r>
            <a:br>
              <a:rPr lang="ru-RU" dirty="0"/>
            </a:br>
            <a:r>
              <a:rPr lang="ru-RU" dirty="0"/>
              <a:t>презентации</a:t>
            </a:r>
            <a:endParaRPr lang="en-US" dirty="0"/>
          </a:p>
        </p:txBody>
      </p:sp>
      <p:pic>
        <p:nvPicPr>
          <p:cNvPr id="14" name="Рисунок 13" title="SberDevices">
            <a:extLst>
              <a:ext uri="{FF2B5EF4-FFF2-40B4-BE49-F238E27FC236}">
                <a16:creationId xmlns:a16="http://schemas.microsoft.com/office/drawing/2014/main" id="{9DFB4B99-9044-6243-9752-41FDB13617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7" y="1306843"/>
            <a:ext cx="6382727" cy="2827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9618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dark—Старт ">
    <p:bg>
      <p:bgPr>
        <a:solidFill>
          <a:srgbClr val="050D1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1">
            <a:extLst>
              <a:ext uri="{FF2B5EF4-FFF2-40B4-BE49-F238E27FC236}">
                <a16:creationId xmlns:a16="http://schemas.microsoft.com/office/drawing/2014/main" id="{E5DD3C2A-3641-774C-8156-E9FB4641CF6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24382413" cy="13716000"/>
          </a:xfrm>
          <a:prstGeom prst="rect">
            <a:avLst/>
          </a:prstGeom>
        </p:spPr>
      </p:pic>
      <p:sp>
        <p:nvSpPr>
          <p:cNvPr id="3" name="Текст 12">
            <a:extLst>
              <a:ext uri="{FF2B5EF4-FFF2-40B4-BE49-F238E27FC236}">
                <a16:creationId xmlns:a16="http://schemas.microsoft.com/office/drawing/2014/main" id="{59928040-7FF3-EB49-80CB-F0315D6799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8707" y="741710"/>
            <a:ext cx="20900376" cy="122044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4800" b="0" i="0">
                <a:solidFill>
                  <a:schemeClr val="tx1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ru-RU" dirty="0"/>
              <a:t>Заголовок слайда — 24</a:t>
            </a:r>
            <a:r>
              <a:rPr lang="en-US" dirty="0" err="1"/>
              <a:t>pt</a:t>
            </a:r>
            <a:endParaRPr lang="ru-RU" dirty="0"/>
          </a:p>
        </p:txBody>
      </p:sp>
      <p:sp>
        <p:nvSpPr>
          <p:cNvPr id="5" name="Номер слайда 2">
            <a:extLst>
              <a:ext uri="{FF2B5EF4-FFF2-40B4-BE49-F238E27FC236}">
                <a16:creationId xmlns:a16="http://schemas.microsoft.com/office/drawing/2014/main" id="{B8935201-2392-3B4F-8682-AB596D86E3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8707" y="12304628"/>
            <a:ext cx="1702401" cy="771696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rgbClr val="C2C2C6"/>
                </a:solidFill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46411419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618">
          <p15:clr>
            <a:srgbClr val="FBAE40"/>
          </p15:clr>
        </p15:guide>
        <p15:guide id="3" pos="325">
          <p15:clr>
            <a:srgbClr val="FBAE40"/>
          </p15:clr>
        </p15:guide>
        <p15:guide id="4" orient="horz" pos="323">
          <p15:clr>
            <a:srgbClr val="FBAE40"/>
          </p15:clr>
        </p15:guide>
        <p15:guide id="5" pos="7355">
          <p15:clr>
            <a:srgbClr val="FBAE40"/>
          </p15:clr>
        </p15:guide>
        <p15:guide id="6" orient="horz" pos="3997">
          <p15:clr>
            <a:srgbClr val="FBAE40"/>
          </p15:clr>
        </p15:guide>
        <p15:guide id="7" orient="horz" pos="709">
          <p15:clr>
            <a:srgbClr val="FBAE40"/>
          </p15:clr>
        </p15:guide>
        <p15:guide id="8" orient="horz" pos="992">
          <p15:clr>
            <a:srgbClr val="FBAE40"/>
          </p15:clr>
        </p15:guide>
        <p15:guide id="9" orient="horz" pos="1454">
          <p15:clr>
            <a:srgbClr val="FBAE40"/>
          </p15:clr>
        </p15:guide>
        <p15:guide id="10" orient="horz" pos="1079">
          <p15:clr>
            <a:srgbClr val="FBAE40"/>
          </p15:clr>
        </p15:guide>
        <p15:guide id="11" orient="horz" pos="1366">
          <p15:clr>
            <a:srgbClr val="FBAE40"/>
          </p15:clr>
        </p15:guide>
        <p15:guide id="12" orient="horz" pos="1742">
          <p15:clr>
            <a:srgbClr val="FBAE40"/>
          </p15:clr>
        </p15:guide>
        <p15:guide id="13" orient="horz" pos="1832">
          <p15:clr>
            <a:srgbClr val="FBAE40"/>
          </p15:clr>
        </p15:guide>
        <p15:guide id="14" orient="horz" pos="2120">
          <p15:clr>
            <a:srgbClr val="FBAE40"/>
          </p15:clr>
        </p15:guide>
        <p15:guide id="15" orient="horz" pos="2212">
          <p15:clr>
            <a:srgbClr val="FBAE40"/>
          </p15:clr>
        </p15:guide>
        <p15:guide id="16" orient="horz" pos="2499">
          <p15:clr>
            <a:srgbClr val="FBAE40"/>
          </p15:clr>
        </p15:guide>
        <p15:guide id="17" orient="horz" pos="2586">
          <p15:clr>
            <a:srgbClr val="FBAE40"/>
          </p15:clr>
        </p15:guide>
        <p15:guide id="18" orient="horz" pos="2874">
          <p15:clr>
            <a:srgbClr val="FBAE40"/>
          </p15:clr>
        </p15:guide>
        <p15:guide id="19" orient="horz" pos="2957">
          <p15:clr>
            <a:srgbClr val="FBAE40"/>
          </p15:clr>
        </p15:guide>
        <p15:guide id="20" orient="horz" pos="3249">
          <p15:clr>
            <a:srgbClr val="FBAE40"/>
          </p15:clr>
        </p15:guide>
        <p15:guide id="21" orient="horz" pos="3335">
          <p15:clr>
            <a:srgbClr val="FBAE40"/>
          </p15:clr>
        </p15:guide>
        <p15:guide id="22" orient="horz" pos="3620">
          <p15:clr>
            <a:srgbClr val="FBAE40"/>
          </p15:clr>
        </p15:guide>
        <p15:guide id="23" orient="horz" pos="3713">
          <p15:clr>
            <a:srgbClr val="FBAE40"/>
          </p15:clr>
        </p15:guide>
        <p15:guide id="24" pos="813">
          <p15:clr>
            <a:srgbClr val="FBAE40"/>
          </p15:clr>
        </p15:guide>
        <p15:guide id="25" pos="918">
          <p15:clr>
            <a:srgbClr val="FBAE40"/>
          </p15:clr>
        </p15:guide>
        <p15:guide id="26" pos="1413">
          <p15:clr>
            <a:srgbClr val="FBAE40"/>
          </p15:clr>
        </p15:guide>
        <p15:guide id="27" pos="1510">
          <p15:clr>
            <a:srgbClr val="FBAE40"/>
          </p15:clr>
        </p15:guide>
        <p15:guide id="28" pos="2004">
          <p15:clr>
            <a:srgbClr val="FBAE40"/>
          </p15:clr>
        </p15:guide>
        <p15:guide id="29" pos="2105">
          <p15:clr>
            <a:srgbClr val="FBAE40"/>
          </p15:clr>
        </p15:guide>
        <p15:guide id="30" pos="2598">
          <p15:clr>
            <a:srgbClr val="FBAE40"/>
          </p15:clr>
        </p15:guide>
        <p15:guide id="31" pos="2699">
          <p15:clr>
            <a:srgbClr val="FBAE40"/>
          </p15:clr>
        </p15:guide>
        <p15:guide id="32" pos="3193">
          <p15:clr>
            <a:srgbClr val="FBAE40"/>
          </p15:clr>
        </p15:guide>
        <p15:guide id="33" pos="3294">
          <p15:clr>
            <a:srgbClr val="FBAE40"/>
          </p15:clr>
        </p15:guide>
        <p15:guide id="34" pos="3787">
          <p15:clr>
            <a:srgbClr val="FBAE40"/>
          </p15:clr>
        </p15:guide>
        <p15:guide id="35" pos="3888">
          <p15:clr>
            <a:srgbClr val="FBAE40"/>
          </p15:clr>
        </p15:guide>
        <p15:guide id="36" pos="4482">
          <p15:clr>
            <a:srgbClr val="FBAE40"/>
          </p15:clr>
        </p15:guide>
        <p15:guide id="37" pos="4381">
          <p15:clr>
            <a:srgbClr val="FBAE40"/>
          </p15:clr>
        </p15:guide>
        <p15:guide id="38" pos="4973">
          <p15:clr>
            <a:srgbClr val="FBAE40"/>
          </p15:clr>
        </p15:guide>
        <p15:guide id="39" pos="5074">
          <p15:clr>
            <a:srgbClr val="FBAE40"/>
          </p15:clr>
        </p15:guide>
        <p15:guide id="40" pos="5573">
          <p15:clr>
            <a:srgbClr val="FBAE40"/>
          </p15:clr>
        </p15:guide>
        <p15:guide id="41" pos="5671">
          <p15:clr>
            <a:srgbClr val="FBAE40"/>
          </p15:clr>
        </p15:guide>
        <p15:guide id="42" pos="6161">
          <p15:clr>
            <a:srgbClr val="FBAE40"/>
          </p15:clr>
        </p15:guide>
        <p15:guide id="43" pos="6266">
          <p15:clr>
            <a:srgbClr val="FBAE40"/>
          </p15:clr>
        </p15:guide>
        <p15:guide id="44" pos="6759">
          <p15:clr>
            <a:srgbClr val="FBAE40"/>
          </p15:clr>
        </p15:guide>
        <p15:guide id="45" pos="686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ber_Темно-синий акцент (текс 40)">
    <p:bg>
      <p:bgPr>
        <a:solidFill>
          <a:srgbClr val="F0F1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0FB005FD-ADDA-384A-A36F-F93AA968BF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24382413" cy="13716000"/>
          </a:xfrm>
          <a:prstGeom prst="rect">
            <a:avLst/>
          </a:prstGeom>
        </p:spPr>
      </p:pic>
      <p:sp>
        <p:nvSpPr>
          <p:cNvPr id="10" name="Номер слайда 2">
            <a:extLst>
              <a:ext uri="{FF2B5EF4-FFF2-40B4-BE49-F238E27FC236}">
                <a16:creationId xmlns:a16="http://schemas.microsoft.com/office/drawing/2014/main" id="{B2F674F7-5FF8-754C-8183-94D0A8A9D0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8707" y="12304628"/>
            <a:ext cx="1702401" cy="771696"/>
          </a:xfrm>
          <a:prstGeom prst="rect">
            <a:avLst/>
          </a:prstGeom>
        </p:spPr>
        <p:txBody>
          <a:bodyPr/>
          <a:lstStyle>
            <a:lvl1pPr algn="l">
              <a:defRPr sz="2118">
                <a:solidFill>
                  <a:srgbClr val="C2C2C6"/>
                </a:solidFill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7" name="Текст 12">
            <a:extLst>
              <a:ext uri="{FF2B5EF4-FFF2-40B4-BE49-F238E27FC236}">
                <a16:creationId xmlns:a16="http://schemas.microsoft.com/office/drawing/2014/main" id="{7559717B-A507-8949-9B0C-9E1382C57E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8707" y="741710"/>
            <a:ext cx="20900376" cy="122044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4800" b="0" i="0">
                <a:solidFill>
                  <a:schemeClr val="bg1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ru-RU" dirty="0"/>
              <a:t>Заголовок слайда — </a:t>
            </a:r>
            <a:r>
              <a:rPr lang="en-US" dirty="0"/>
              <a:t>24pt</a:t>
            </a:r>
            <a:endParaRPr lang="ru-RU" dirty="0"/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DA52D090-B579-2F41-AD90-760FE4B3689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718378" y="9026392"/>
            <a:ext cx="1061517" cy="4035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8647518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545">
          <p15:clr>
            <a:srgbClr val="FBAE40"/>
          </p15:clr>
        </p15:guide>
        <p15:guide id="3" pos="287">
          <p15:clr>
            <a:srgbClr val="FBAE40"/>
          </p15:clr>
        </p15:guide>
        <p15:guide id="4" orient="horz" pos="285">
          <p15:clr>
            <a:srgbClr val="FBAE40"/>
          </p15:clr>
        </p15:guide>
        <p15:guide id="5" pos="6490">
          <p15:clr>
            <a:srgbClr val="FBAE40"/>
          </p15:clr>
        </p15:guide>
        <p15:guide id="6" orient="horz" pos="3527">
          <p15:clr>
            <a:srgbClr val="FBAE40"/>
          </p15:clr>
        </p15:guide>
        <p15:guide id="7" orient="horz" pos="626">
          <p15:clr>
            <a:srgbClr val="FBAE40"/>
          </p15:clr>
        </p15:guide>
        <p15:guide id="8" orient="horz" pos="875">
          <p15:clr>
            <a:srgbClr val="FBAE40"/>
          </p15:clr>
        </p15:guide>
        <p15:guide id="9" orient="horz" pos="1283">
          <p15:clr>
            <a:srgbClr val="FBAE40"/>
          </p15:clr>
        </p15:guide>
        <p15:guide id="10" orient="horz" pos="952">
          <p15:clr>
            <a:srgbClr val="FBAE40"/>
          </p15:clr>
        </p15:guide>
        <p15:guide id="11" orient="horz" pos="1205">
          <p15:clr>
            <a:srgbClr val="FBAE40"/>
          </p15:clr>
        </p15:guide>
        <p15:guide id="12" orient="horz" pos="1537">
          <p15:clr>
            <a:srgbClr val="FBAE40"/>
          </p15:clr>
        </p15:guide>
        <p15:guide id="13" orient="horz" pos="1616">
          <p15:clr>
            <a:srgbClr val="FBAE40"/>
          </p15:clr>
        </p15:guide>
        <p15:guide id="14" orient="horz" pos="1871">
          <p15:clr>
            <a:srgbClr val="FBAE40"/>
          </p15:clr>
        </p15:guide>
        <p15:guide id="15" orient="horz" pos="1952">
          <p15:clr>
            <a:srgbClr val="FBAE40"/>
          </p15:clr>
        </p15:guide>
        <p15:guide id="16" orient="horz" pos="2205">
          <p15:clr>
            <a:srgbClr val="FBAE40"/>
          </p15:clr>
        </p15:guide>
        <p15:guide id="17" orient="horz" pos="2282">
          <p15:clr>
            <a:srgbClr val="FBAE40"/>
          </p15:clr>
        </p15:guide>
        <p15:guide id="18" orient="horz" pos="2536">
          <p15:clr>
            <a:srgbClr val="FBAE40"/>
          </p15:clr>
        </p15:guide>
        <p15:guide id="19" orient="horz" pos="2609">
          <p15:clr>
            <a:srgbClr val="FBAE40"/>
          </p15:clr>
        </p15:guide>
        <p15:guide id="20" orient="horz" pos="2867">
          <p15:clr>
            <a:srgbClr val="FBAE40"/>
          </p15:clr>
        </p15:guide>
        <p15:guide id="21" orient="horz" pos="2943">
          <p15:clr>
            <a:srgbClr val="FBAE40"/>
          </p15:clr>
        </p15:guide>
        <p15:guide id="22" orient="horz" pos="3194">
          <p15:clr>
            <a:srgbClr val="FBAE40"/>
          </p15:clr>
        </p15:guide>
        <p15:guide id="23" orient="horz" pos="3276">
          <p15:clr>
            <a:srgbClr val="FBAE40"/>
          </p15:clr>
        </p15:guide>
        <p15:guide id="24" pos="717">
          <p15:clr>
            <a:srgbClr val="FBAE40"/>
          </p15:clr>
        </p15:guide>
        <p15:guide id="25" pos="810">
          <p15:clr>
            <a:srgbClr val="FBAE40"/>
          </p15:clr>
        </p15:guide>
        <p15:guide id="26" pos="1247">
          <p15:clr>
            <a:srgbClr val="FBAE40"/>
          </p15:clr>
        </p15:guide>
        <p15:guide id="27" pos="1332">
          <p15:clr>
            <a:srgbClr val="FBAE40"/>
          </p15:clr>
        </p15:guide>
        <p15:guide id="28" pos="1768">
          <p15:clr>
            <a:srgbClr val="FBAE40"/>
          </p15:clr>
        </p15:guide>
        <p15:guide id="29" pos="1857">
          <p15:clr>
            <a:srgbClr val="FBAE40"/>
          </p15:clr>
        </p15:guide>
        <p15:guide id="30" pos="2292">
          <p15:clr>
            <a:srgbClr val="FBAE40"/>
          </p15:clr>
        </p15:guide>
        <p15:guide id="31" pos="2381">
          <p15:clr>
            <a:srgbClr val="FBAE40"/>
          </p15:clr>
        </p15:guide>
        <p15:guide id="32" pos="2817">
          <p15:clr>
            <a:srgbClr val="FBAE40"/>
          </p15:clr>
        </p15:guide>
        <p15:guide id="33" pos="2906">
          <p15:clr>
            <a:srgbClr val="FBAE40"/>
          </p15:clr>
        </p15:guide>
        <p15:guide id="34" pos="3341">
          <p15:clr>
            <a:srgbClr val="FBAE40"/>
          </p15:clr>
        </p15:guide>
        <p15:guide id="35" pos="3431">
          <p15:clr>
            <a:srgbClr val="FBAE40"/>
          </p15:clr>
        </p15:guide>
        <p15:guide id="36" pos="3955">
          <p15:clr>
            <a:srgbClr val="FBAE40"/>
          </p15:clr>
        </p15:guide>
        <p15:guide id="37" pos="3866">
          <p15:clr>
            <a:srgbClr val="FBAE40"/>
          </p15:clr>
        </p15:guide>
        <p15:guide id="38" pos="4388">
          <p15:clr>
            <a:srgbClr val="FBAE40"/>
          </p15:clr>
        </p15:guide>
        <p15:guide id="39" pos="4477">
          <p15:clr>
            <a:srgbClr val="FBAE40"/>
          </p15:clr>
        </p15:guide>
        <p15:guide id="40" pos="4917">
          <p15:clr>
            <a:srgbClr val="FBAE40"/>
          </p15:clr>
        </p15:guide>
        <p15:guide id="41" pos="5004">
          <p15:clr>
            <a:srgbClr val="FBAE40"/>
          </p15:clr>
        </p15:guide>
        <p15:guide id="42" pos="5436">
          <p15:clr>
            <a:srgbClr val="FBAE40"/>
          </p15:clr>
        </p15:guide>
        <p15:guide id="43" pos="5529">
          <p15:clr>
            <a:srgbClr val="FBAE40"/>
          </p15:clr>
        </p15:guide>
        <p15:guide id="44" pos="5964">
          <p15:clr>
            <a:srgbClr val="FBAE40"/>
          </p15:clr>
        </p15:guide>
        <p15:guide id="45" pos="6053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ber_Темно-синий (Титул)">
    <p:bg>
      <p:bgPr>
        <a:solidFill>
          <a:srgbClr val="F0F1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9066A3EE-176E-E84D-BF13-06EAFE08B2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24382413" cy="13716000"/>
          </a:xfrm>
          <a:prstGeom prst="rect">
            <a:avLst/>
          </a:prstGeom>
        </p:spPr>
      </p:pic>
      <p:sp>
        <p:nvSpPr>
          <p:cNvPr id="6" name="Текст 12">
            <a:extLst>
              <a:ext uri="{FF2B5EF4-FFF2-40B4-BE49-F238E27FC236}">
                <a16:creationId xmlns:a16="http://schemas.microsoft.com/office/drawing/2014/main" id="{98CCE2F2-77A7-C641-BFA5-31025204C51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8707" y="640279"/>
            <a:ext cx="20900376" cy="5472242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10587" b="0" i="0">
                <a:solidFill>
                  <a:schemeClr val="bg1"/>
                </a:solidFill>
                <a:latin typeface="+mn-lt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презентации</a:t>
            </a:r>
          </a:p>
        </p:txBody>
      </p:sp>
      <p:sp>
        <p:nvSpPr>
          <p:cNvPr id="11" name="Текст 12">
            <a:extLst>
              <a:ext uri="{FF2B5EF4-FFF2-40B4-BE49-F238E27FC236}">
                <a16:creationId xmlns:a16="http://schemas.microsoft.com/office/drawing/2014/main" id="{48780AC0-D6CD-FB42-98BE-BC08E7783D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78710" y="12309055"/>
            <a:ext cx="11144233" cy="663998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chemeClr val="bg2">
                    <a:lumMod val="40000"/>
                    <a:lumOff val="60000"/>
                  </a:schemeClr>
                </a:solidFill>
                <a:latin typeface="+mn-lt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ru-RU" dirty="0"/>
              <a:t>Автор, </a:t>
            </a:r>
            <a:r>
              <a:rPr lang="en-US" dirty="0"/>
              <a:t>@</a:t>
            </a:r>
            <a:r>
              <a:rPr lang="en-US" dirty="0" err="1"/>
              <a:t>sberbank.ru</a:t>
            </a:r>
            <a:r>
              <a:rPr lang="en-US" dirty="0"/>
              <a:t> </a:t>
            </a:r>
            <a:r>
              <a:rPr lang="ru-RU" dirty="0"/>
              <a:t>— дата</a:t>
            </a:r>
          </a:p>
        </p:txBody>
      </p:sp>
      <p:pic>
        <p:nvPicPr>
          <p:cNvPr id="7" name="Рисунок 6" descr="http://4442028D1D486D8CEA103EE8F5DB299E.dms.sberbank.ru/4442028D1D486D8CEA103EE8F5DB299E-DB84C24130F573C112317B7BD40B8A1F-35C186FEBAC432CBBE251EFD9EC807C8/1.png"/>
          <p:cNvPicPr>
            <a:picLocks/>
          </p:cNvPicPr>
          <p:nvPr userDrawn="1"/>
        </p:nvPicPr>
        <p:blipFill>
          <a:blip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176" cy="3176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B52E96E0-0BDF-D847-8F1A-8FE1EA8C84D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718378" y="9026392"/>
            <a:ext cx="1061517" cy="4035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0623590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545">
          <p15:clr>
            <a:srgbClr val="FBAE40"/>
          </p15:clr>
        </p15:guide>
        <p15:guide id="3" pos="287">
          <p15:clr>
            <a:srgbClr val="FBAE40"/>
          </p15:clr>
        </p15:guide>
        <p15:guide id="4" orient="horz" pos="285">
          <p15:clr>
            <a:srgbClr val="FBAE40"/>
          </p15:clr>
        </p15:guide>
        <p15:guide id="5" pos="6490">
          <p15:clr>
            <a:srgbClr val="FBAE40"/>
          </p15:clr>
        </p15:guide>
        <p15:guide id="6" orient="horz" pos="3527">
          <p15:clr>
            <a:srgbClr val="FBAE40"/>
          </p15:clr>
        </p15:guide>
        <p15:guide id="7" orient="horz" pos="626">
          <p15:clr>
            <a:srgbClr val="FBAE40"/>
          </p15:clr>
        </p15:guide>
        <p15:guide id="8" orient="horz" pos="875">
          <p15:clr>
            <a:srgbClr val="FBAE40"/>
          </p15:clr>
        </p15:guide>
        <p15:guide id="9" orient="horz" pos="1283">
          <p15:clr>
            <a:srgbClr val="FBAE40"/>
          </p15:clr>
        </p15:guide>
        <p15:guide id="10" orient="horz" pos="952">
          <p15:clr>
            <a:srgbClr val="FBAE40"/>
          </p15:clr>
        </p15:guide>
        <p15:guide id="11" orient="horz" pos="1205">
          <p15:clr>
            <a:srgbClr val="FBAE40"/>
          </p15:clr>
        </p15:guide>
        <p15:guide id="12" orient="horz" pos="1537">
          <p15:clr>
            <a:srgbClr val="FBAE40"/>
          </p15:clr>
        </p15:guide>
        <p15:guide id="13" orient="horz" pos="1616">
          <p15:clr>
            <a:srgbClr val="FBAE40"/>
          </p15:clr>
        </p15:guide>
        <p15:guide id="14" orient="horz" pos="1871">
          <p15:clr>
            <a:srgbClr val="FBAE40"/>
          </p15:clr>
        </p15:guide>
        <p15:guide id="15" orient="horz" pos="1952">
          <p15:clr>
            <a:srgbClr val="FBAE40"/>
          </p15:clr>
        </p15:guide>
        <p15:guide id="16" orient="horz" pos="2205">
          <p15:clr>
            <a:srgbClr val="FBAE40"/>
          </p15:clr>
        </p15:guide>
        <p15:guide id="17" orient="horz" pos="2282">
          <p15:clr>
            <a:srgbClr val="FBAE40"/>
          </p15:clr>
        </p15:guide>
        <p15:guide id="18" orient="horz" pos="2536">
          <p15:clr>
            <a:srgbClr val="FBAE40"/>
          </p15:clr>
        </p15:guide>
        <p15:guide id="19" orient="horz" pos="2609">
          <p15:clr>
            <a:srgbClr val="FBAE40"/>
          </p15:clr>
        </p15:guide>
        <p15:guide id="20" orient="horz" pos="2867">
          <p15:clr>
            <a:srgbClr val="FBAE40"/>
          </p15:clr>
        </p15:guide>
        <p15:guide id="21" orient="horz" pos="2943">
          <p15:clr>
            <a:srgbClr val="FBAE40"/>
          </p15:clr>
        </p15:guide>
        <p15:guide id="22" orient="horz" pos="3194">
          <p15:clr>
            <a:srgbClr val="FBAE40"/>
          </p15:clr>
        </p15:guide>
        <p15:guide id="23" orient="horz" pos="3276">
          <p15:clr>
            <a:srgbClr val="FBAE40"/>
          </p15:clr>
        </p15:guide>
        <p15:guide id="24" pos="717">
          <p15:clr>
            <a:srgbClr val="FBAE40"/>
          </p15:clr>
        </p15:guide>
        <p15:guide id="25" pos="810">
          <p15:clr>
            <a:srgbClr val="FBAE40"/>
          </p15:clr>
        </p15:guide>
        <p15:guide id="26" pos="1247">
          <p15:clr>
            <a:srgbClr val="FBAE40"/>
          </p15:clr>
        </p15:guide>
        <p15:guide id="27" pos="1332">
          <p15:clr>
            <a:srgbClr val="FBAE40"/>
          </p15:clr>
        </p15:guide>
        <p15:guide id="28" pos="1768">
          <p15:clr>
            <a:srgbClr val="FBAE40"/>
          </p15:clr>
        </p15:guide>
        <p15:guide id="29" pos="1857">
          <p15:clr>
            <a:srgbClr val="FBAE40"/>
          </p15:clr>
        </p15:guide>
        <p15:guide id="30" pos="2292">
          <p15:clr>
            <a:srgbClr val="FBAE40"/>
          </p15:clr>
        </p15:guide>
        <p15:guide id="31" pos="2381">
          <p15:clr>
            <a:srgbClr val="FBAE40"/>
          </p15:clr>
        </p15:guide>
        <p15:guide id="32" pos="2817">
          <p15:clr>
            <a:srgbClr val="FBAE40"/>
          </p15:clr>
        </p15:guide>
        <p15:guide id="33" pos="2906">
          <p15:clr>
            <a:srgbClr val="FBAE40"/>
          </p15:clr>
        </p15:guide>
        <p15:guide id="34" pos="3341">
          <p15:clr>
            <a:srgbClr val="FBAE40"/>
          </p15:clr>
        </p15:guide>
        <p15:guide id="35" pos="3431">
          <p15:clr>
            <a:srgbClr val="FBAE40"/>
          </p15:clr>
        </p15:guide>
        <p15:guide id="36" pos="3955">
          <p15:clr>
            <a:srgbClr val="FBAE40"/>
          </p15:clr>
        </p15:guide>
        <p15:guide id="37" pos="3866">
          <p15:clr>
            <a:srgbClr val="FBAE40"/>
          </p15:clr>
        </p15:guide>
        <p15:guide id="38" pos="4388">
          <p15:clr>
            <a:srgbClr val="FBAE40"/>
          </p15:clr>
        </p15:guide>
        <p15:guide id="39" pos="4477">
          <p15:clr>
            <a:srgbClr val="FBAE40"/>
          </p15:clr>
        </p15:guide>
        <p15:guide id="40" pos="4917">
          <p15:clr>
            <a:srgbClr val="FBAE40"/>
          </p15:clr>
        </p15:guide>
        <p15:guide id="41" pos="5004">
          <p15:clr>
            <a:srgbClr val="FBAE40"/>
          </p15:clr>
        </p15:guide>
        <p15:guide id="42" pos="5436">
          <p15:clr>
            <a:srgbClr val="FBAE40"/>
          </p15:clr>
        </p15:guide>
        <p15:guide id="43" pos="5529">
          <p15:clr>
            <a:srgbClr val="FBAE40"/>
          </p15:clr>
        </p15:guide>
        <p15:guide id="44" pos="5964">
          <p15:clr>
            <a:srgbClr val="FBAE40"/>
          </p15:clr>
        </p15:guide>
        <p15:guide id="45" pos="6053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lack—Акцидентный верхний 48 + 18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екст 12">
            <a:extLst>
              <a:ext uri="{FF2B5EF4-FFF2-40B4-BE49-F238E27FC236}">
                <a16:creationId xmlns:a16="http://schemas.microsoft.com/office/drawing/2014/main" id="{7559717B-A507-8949-9B0C-9E1382C57E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8707" y="741710"/>
            <a:ext cx="20900376" cy="122044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4800" b="0" i="0">
                <a:solidFill>
                  <a:schemeClr val="tx1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ru-RU" dirty="0"/>
              <a:t>Заголовок слайда — </a:t>
            </a:r>
            <a:r>
              <a:rPr lang="en-US" dirty="0"/>
              <a:t>24pt</a:t>
            </a:r>
            <a:endParaRPr lang="ru-RU" dirty="0"/>
          </a:p>
        </p:txBody>
      </p:sp>
      <p:pic>
        <p:nvPicPr>
          <p:cNvPr id="5" name="Рисунок 14">
            <a:extLst>
              <a:ext uri="{FF2B5EF4-FFF2-40B4-BE49-F238E27FC236}">
                <a16:creationId xmlns:a16="http://schemas.microsoft.com/office/drawing/2014/main" id="{5D71BDCE-E95A-8447-9925-8063C57196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718378" y="9026392"/>
            <a:ext cx="1061517" cy="4035560"/>
          </a:xfrm>
          <a:prstGeom prst="rect">
            <a:avLst/>
          </a:prstGeom>
        </p:spPr>
      </p:pic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B4163D50-D756-7D43-89F7-9E752B1807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8707" y="12304628"/>
            <a:ext cx="1702401" cy="771696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rgbClr val="C2C2C6"/>
                </a:solidFill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812470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545">
          <p15:clr>
            <a:srgbClr val="FBAE40"/>
          </p15:clr>
        </p15:guide>
        <p15:guide id="3" pos="287">
          <p15:clr>
            <a:srgbClr val="FBAE40"/>
          </p15:clr>
        </p15:guide>
        <p15:guide id="4" orient="horz" pos="285">
          <p15:clr>
            <a:srgbClr val="FBAE40"/>
          </p15:clr>
        </p15:guide>
        <p15:guide id="5" pos="6490">
          <p15:clr>
            <a:srgbClr val="FBAE40"/>
          </p15:clr>
        </p15:guide>
        <p15:guide id="6" orient="horz" pos="3527">
          <p15:clr>
            <a:srgbClr val="FBAE40"/>
          </p15:clr>
        </p15:guide>
        <p15:guide id="7" orient="horz" pos="626">
          <p15:clr>
            <a:srgbClr val="FBAE40"/>
          </p15:clr>
        </p15:guide>
        <p15:guide id="8" orient="horz" pos="875">
          <p15:clr>
            <a:srgbClr val="FBAE40"/>
          </p15:clr>
        </p15:guide>
        <p15:guide id="9" orient="horz" pos="1283">
          <p15:clr>
            <a:srgbClr val="FBAE40"/>
          </p15:clr>
        </p15:guide>
        <p15:guide id="10" orient="horz" pos="952">
          <p15:clr>
            <a:srgbClr val="FBAE40"/>
          </p15:clr>
        </p15:guide>
        <p15:guide id="11" orient="horz" pos="1205">
          <p15:clr>
            <a:srgbClr val="FBAE40"/>
          </p15:clr>
        </p15:guide>
        <p15:guide id="12" orient="horz" pos="1537">
          <p15:clr>
            <a:srgbClr val="FBAE40"/>
          </p15:clr>
        </p15:guide>
        <p15:guide id="13" orient="horz" pos="1616">
          <p15:clr>
            <a:srgbClr val="FBAE40"/>
          </p15:clr>
        </p15:guide>
        <p15:guide id="14" orient="horz" pos="1871">
          <p15:clr>
            <a:srgbClr val="FBAE40"/>
          </p15:clr>
        </p15:guide>
        <p15:guide id="15" orient="horz" pos="1952">
          <p15:clr>
            <a:srgbClr val="FBAE40"/>
          </p15:clr>
        </p15:guide>
        <p15:guide id="16" orient="horz" pos="2205">
          <p15:clr>
            <a:srgbClr val="FBAE40"/>
          </p15:clr>
        </p15:guide>
        <p15:guide id="17" orient="horz" pos="2282">
          <p15:clr>
            <a:srgbClr val="FBAE40"/>
          </p15:clr>
        </p15:guide>
        <p15:guide id="18" orient="horz" pos="2536">
          <p15:clr>
            <a:srgbClr val="FBAE40"/>
          </p15:clr>
        </p15:guide>
        <p15:guide id="19" orient="horz" pos="2609">
          <p15:clr>
            <a:srgbClr val="FBAE40"/>
          </p15:clr>
        </p15:guide>
        <p15:guide id="20" orient="horz" pos="2867">
          <p15:clr>
            <a:srgbClr val="FBAE40"/>
          </p15:clr>
        </p15:guide>
        <p15:guide id="21" orient="horz" pos="2943">
          <p15:clr>
            <a:srgbClr val="FBAE40"/>
          </p15:clr>
        </p15:guide>
        <p15:guide id="22" orient="horz" pos="3194">
          <p15:clr>
            <a:srgbClr val="FBAE40"/>
          </p15:clr>
        </p15:guide>
        <p15:guide id="23" orient="horz" pos="3276">
          <p15:clr>
            <a:srgbClr val="FBAE40"/>
          </p15:clr>
        </p15:guide>
        <p15:guide id="24" pos="717">
          <p15:clr>
            <a:srgbClr val="FBAE40"/>
          </p15:clr>
        </p15:guide>
        <p15:guide id="25" pos="810">
          <p15:clr>
            <a:srgbClr val="FBAE40"/>
          </p15:clr>
        </p15:guide>
        <p15:guide id="26" pos="1247">
          <p15:clr>
            <a:srgbClr val="FBAE40"/>
          </p15:clr>
        </p15:guide>
        <p15:guide id="27" pos="1332">
          <p15:clr>
            <a:srgbClr val="FBAE40"/>
          </p15:clr>
        </p15:guide>
        <p15:guide id="28" pos="1768">
          <p15:clr>
            <a:srgbClr val="FBAE40"/>
          </p15:clr>
        </p15:guide>
        <p15:guide id="29" pos="1857">
          <p15:clr>
            <a:srgbClr val="FBAE40"/>
          </p15:clr>
        </p15:guide>
        <p15:guide id="30" pos="2292">
          <p15:clr>
            <a:srgbClr val="FBAE40"/>
          </p15:clr>
        </p15:guide>
        <p15:guide id="31" pos="2381">
          <p15:clr>
            <a:srgbClr val="FBAE40"/>
          </p15:clr>
        </p15:guide>
        <p15:guide id="32" pos="2817">
          <p15:clr>
            <a:srgbClr val="FBAE40"/>
          </p15:clr>
        </p15:guide>
        <p15:guide id="33" pos="2906">
          <p15:clr>
            <a:srgbClr val="FBAE40"/>
          </p15:clr>
        </p15:guide>
        <p15:guide id="34" pos="3341">
          <p15:clr>
            <a:srgbClr val="FBAE40"/>
          </p15:clr>
        </p15:guide>
        <p15:guide id="35" pos="3431">
          <p15:clr>
            <a:srgbClr val="FBAE40"/>
          </p15:clr>
        </p15:guide>
        <p15:guide id="36" pos="3955">
          <p15:clr>
            <a:srgbClr val="FBAE40"/>
          </p15:clr>
        </p15:guide>
        <p15:guide id="37" pos="3866">
          <p15:clr>
            <a:srgbClr val="FBAE40"/>
          </p15:clr>
        </p15:guide>
        <p15:guide id="38" pos="4388">
          <p15:clr>
            <a:srgbClr val="FBAE40"/>
          </p15:clr>
        </p15:guide>
        <p15:guide id="39" pos="4477">
          <p15:clr>
            <a:srgbClr val="FBAE40"/>
          </p15:clr>
        </p15:guide>
        <p15:guide id="40" pos="4917">
          <p15:clr>
            <a:srgbClr val="FBAE40"/>
          </p15:clr>
        </p15:guide>
        <p15:guide id="41" pos="5004">
          <p15:clr>
            <a:srgbClr val="FBAE40"/>
          </p15:clr>
        </p15:guide>
        <p15:guide id="42" pos="5436">
          <p15:clr>
            <a:srgbClr val="FBAE40"/>
          </p15:clr>
        </p15:guide>
        <p15:guide id="43" pos="5529">
          <p15:clr>
            <a:srgbClr val="FBAE40"/>
          </p15:clr>
        </p15:guide>
        <p15:guide id="44" pos="5964">
          <p15:clr>
            <a:srgbClr val="FBAE40"/>
          </p15:clr>
        </p15:guide>
        <p15:guide id="45" pos="605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lack—Акцидентный верхний 48 + 18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Frame 335083.png" descr="Frame 335083.png">
            <a:extLst>
              <a:ext uri="{FF2B5EF4-FFF2-40B4-BE49-F238E27FC236}">
                <a16:creationId xmlns:a16="http://schemas.microsoft.com/office/drawing/2014/main" id="{10AA87D6-0315-8D4B-B0B9-784ED23E49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9294"/>
          <a:stretch/>
        </p:blipFill>
        <p:spPr>
          <a:xfrm flipH="1">
            <a:off x="1" y="4137395"/>
            <a:ext cx="15478479" cy="9592566"/>
          </a:xfrm>
          <a:prstGeom prst="rect">
            <a:avLst/>
          </a:prstGeom>
        </p:spPr>
      </p:pic>
      <p:pic>
        <p:nvPicPr>
          <p:cNvPr id="8" name="Frame 335083.png" descr="Frame 335083.png">
            <a:extLst>
              <a:ext uri="{FF2B5EF4-FFF2-40B4-BE49-F238E27FC236}">
                <a16:creationId xmlns:a16="http://schemas.microsoft.com/office/drawing/2014/main" id="{C5C551FE-4C43-2944-8000-B229B8AE97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7352"/>
          <a:stretch/>
        </p:blipFill>
        <p:spPr>
          <a:xfrm flipV="1">
            <a:off x="11363946" y="-3"/>
            <a:ext cx="13018465" cy="9592566"/>
          </a:xfrm>
          <a:prstGeom prst="rect">
            <a:avLst/>
          </a:prstGeom>
        </p:spPr>
      </p:pic>
      <p:sp>
        <p:nvSpPr>
          <p:cNvPr id="17" name="Текст 12">
            <a:extLst>
              <a:ext uri="{FF2B5EF4-FFF2-40B4-BE49-F238E27FC236}">
                <a16:creationId xmlns:a16="http://schemas.microsoft.com/office/drawing/2014/main" id="{7559717B-A507-8949-9B0C-9E1382C57E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8707" y="741710"/>
            <a:ext cx="20900376" cy="122044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4800" b="0" i="0">
                <a:solidFill>
                  <a:schemeClr val="tx1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ru-RU" dirty="0"/>
              <a:t>Заголовок слайда — </a:t>
            </a:r>
            <a:r>
              <a:rPr lang="en-US" dirty="0"/>
              <a:t>24pt</a:t>
            </a:r>
            <a:endParaRPr lang="ru-RU" dirty="0"/>
          </a:p>
        </p:txBody>
      </p:sp>
      <p:pic>
        <p:nvPicPr>
          <p:cNvPr id="5" name="Рисунок 14">
            <a:extLst>
              <a:ext uri="{FF2B5EF4-FFF2-40B4-BE49-F238E27FC236}">
                <a16:creationId xmlns:a16="http://schemas.microsoft.com/office/drawing/2014/main" id="{5D71BDCE-E95A-8447-9925-8063C57196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718378" y="9026392"/>
            <a:ext cx="1061517" cy="4035560"/>
          </a:xfrm>
          <a:prstGeom prst="rect">
            <a:avLst/>
          </a:prstGeom>
        </p:spPr>
      </p:pic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B4163D50-D756-7D43-89F7-9E752B1807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8707" y="12304628"/>
            <a:ext cx="1702401" cy="771696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rgbClr val="C2C2C6"/>
                </a:solidFill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038562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545">
          <p15:clr>
            <a:srgbClr val="FBAE40"/>
          </p15:clr>
        </p15:guide>
        <p15:guide id="3" pos="287">
          <p15:clr>
            <a:srgbClr val="FBAE40"/>
          </p15:clr>
        </p15:guide>
        <p15:guide id="4" orient="horz" pos="285">
          <p15:clr>
            <a:srgbClr val="FBAE40"/>
          </p15:clr>
        </p15:guide>
        <p15:guide id="5" pos="6490">
          <p15:clr>
            <a:srgbClr val="FBAE40"/>
          </p15:clr>
        </p15:guide>
        <p15:guide id="6" orient="horz" pos="3527">
          <p15:clr>
            <a:srgbClr val="FBAE40"/>
          </p15:clr>
        </p15:guide>
        <p15:guide id="7" orient="horz" pos="626">
          <p15:clr>
            <a:srgbClr val="FBAE40"/>
          </p15:clr>
        </p15:guide>
        <p15:guide id="8" orient="horz" pos="875">
          <p15:clr>
            <a:srgbClr val="FBAE40"/>
          </p15:clr>
        </p15:guide>
        <p15:guide id="9" orient="horz" pos="1283">
          <p15:clr>
            <a:srgbClr val="FBAE40"/>
          </p15:clr>
        </p15:guide>
        <p15:guide id="10" orient="horz" pos="952">
          <p15:clr>
            <a:srgbClr val="FBAE40"/>
          </p15:clr>
        </p15:guide>
        <p15:guide id="11" orient="horz" pos="1205">
          <p15:clr>
            <a:srgbClr val="FBAE40"/>
          </p15:clr>
        </p15:guide>
        <p15:guide id="12" orient="horz" pos="1537">
          <p15:clr>
            <a:srgbClr val="FBAE40"/>
          </p15:clr>
        </p15:guide>
        <p15:guide id="13" orient="horz" pos="1616">
          <p15:clr>
            <a:srgbClr val="FBAE40"/>
          </p15:clr>
        </p15:guide>
        <p15:guide id="14" orient="horz" pos="1871">
          <p15:clr>
            <a:srgbClr val="FBAE40"/>
          </p15:clr>
        </p15:guide>
        <p15:guide id="15" orient="horz" pos="1952">
          <p15:clr>
            <a:srgbClr val="FBAE40"/>
          </p15:clr>
        </p15:guide>
        <p15:guide id="16" orient="horz" pos="2205">
          <p15:clr>
            <a:srgbClr val="FBAE40"/>
          </p15:clr>
        </p15:guide>
        <p15:guide id="17" orient="horz" pos="2282">
          <p15:clr>
            <a:srgbClr val="FBAE40"/>
          </p15:clr>
        </p15:guide>
        <p15:guide id="18" orient="horz" pos="2536">
          <p15:clr>
            <a:srgbClr val="FBAE40"/>
          </p15:clr>
        </p15:guide>
        <p15:guide id="19" orient="horz" pos="2609">
          <p15:clr>
            <a:srgbClr val="FBAE40"/>
          </p15:clr>
        </p15:guide>
        <p15:guide id="20" orient="horz" pos="2867">
          <p15:clr>
            <a:srgbClr val="FBAE40"/>
          </p15:clr>
        </p15:guide>
        <p15:guide id="21" orient="horz" pos="2943">
          <p15:clr>
            <a:srgbClr val="FBAE40"/>
          </p15:clr>
        </p15:guide>
        <p15:guide id="22" orient="horz" pos="3194">
          <p15:clr>
            <a:srgbClr val="FBAE40"/>
          </p15:clr>
        </p15:guide>
        <p15:guide id="23" orient="horz" pos="3276">
          <p15:clr>
            <a:srgbClr val="FBAE40"/>
          </p15:clr>
        </p15:guide>
        <p15:guide id="24" pos="717">
          <p15:clr>
            <a:srgbClr val="FBAE40"/>
          </p15:clr>
        </p15:guide>
        <p15:guide id="25" pos="810">
          <p15:clr>
            <a:srgbClr val="FBAE40"/>
          </p15:clr>
        </p15:guide>
        <p15:guide id="26" pos="1247">
          <p15:clr>
            <a:srgbClr val="FBAE40"/>
          </p15:clr>
        </p15:guide>
        <p15:guide id="27" pos="1332">
          <p15:clr>
            <a:srgbClr val="FBAE40"/>
          </p15:clr>
        </p15:guide>
        <p15:guide id="28" pos="1768">
          <p15:clr>
            <a:srgbClr val="FBAE40"/>
          </p15:clr>
        </p15:guide>
        <p15:guide id="29" pos="1857">
          <p15:clr>
            <a:srgbClr val="FBAE40"/>
          </p15:clr>
        </p15:guide>
        <p15:guide id="30" pos="2292">
          <p15:clr>
            <a:srgbClr val="FBAE40"/>
          </p15:clr>
        </p15:guide>
        <p15:guide id="31" pos="2381">
          <p15:clr>
            <a:srgbClr val="FBAE40"/>
          </p15:clr>
        </p15:guide>
        <p15:guide id="32" pos="2817">
          <p15:clr>
            <a:srgbClr val="FBAE40"/>
          </p15:clr>
        </p15:guide>
        <p15:guide id="33" pos="2906">
          <p15:clr>
            <a:srgbClr val="FBAE40"/>
          </p15:clr>
        </p15:guide>
        <p15:guide id="34" pos="3341">
          <p15:clr>
            <a:srgbClr val="FBAE40"/>
          </p15:clr>
        </p15:guide>
        <p15:guide id="35" pos="3431">
          <p15:clr>
            <a:srgbClr val="FBAE40"/>
          </p15:clr>
        </p15:guide>
        <p15:guide id="36" pos="3955">
          <p15:clr>
            <a:srgbClr val="FBAE40"/>
          </p15:clr>
        </p15:guide>
        <p15:guide id="37" pos="3866">
          <p15:clr>
            <a:srgbClr val="FBAE40"/>
          </p15:clr>
        </p15:guide>
        <p15:guide id="38" pos="4388">
          <p15:clr>
            <a:srgbClr val="FBAE40"/>
          </p15:clr>
        </p15:guide>
        <p15:guide id="39" pos="4477">
          <p15:clr>
            <a:srgbClr val="FBAE40"/>
          </p15:clr>
        </p15:guide>
        <p15:guide id="40" pos="4917">
          <p15:clr>
            <a:srgbClr val="FBAE40"/>
          </p15:clr>
        </p15:guide>
        <p15:guide id="41" pos="5004">
          <p15:clr>
            <a:srgbClr val="FBAE40"/>
          </p15:clr>
        </p15:guide>
        <p15:guide id="42" pos="5436">
          <p15:clr>
            <a:srgbClr val="FBAE40"/>
          </p15:clr>
        </p15:guide>
        <p15:guide id="43" pos="5529">
          <p15:clr>
            <a:srgbClr val="FBAE40"/>
          </p15:clr>
        </p15:guide>
        <p15:guide id="44" pos="5964">
          <p15:clr>
            <a:srgbClr val="FBAE40"/>
          </p15:clr>
        </p15:guide>
        <p15:guide id="45" pos="605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lack—Акцидентный верхний 48 + 18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Frame 335083.png" descr="Frame 335083.png">
            <a:extLst>
              <a:ext uri="{FF2B5EF4-FFF2-40B4-BE49-F238E27FC236}">
                <a16:creationId xmlns:a16="http://schemas.microsoft.com/office/drawing/2014/main" id="{10AA87D6-0315-8D4B-B0B9-784ED23E49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125"/>
          <a:stretch/>
        </p:blipFill>
        <p:spPr>
          <a:xfrm>
            <a:off x="0" y="4137395"/>
            <a:ext cx="24382413" cy="9592566"/>
          </a:xfrm>
          <a:prstGeom prst="rect">
            <a:avLst/>
          </a:prstGeom>
        </p:spPr>
      </p:pic>
      <p:sp>
        <p:nvSpPr>
          <p:cNvPr id="17" name="Текст 12">
            <a:extLst>
              <a:ext uri="{FF2B5EF4-FFF2-40B4-BE49-F238E27FC236}">
                <a16:creationId xmlns:a16="http://schemas.microsoft.com/office/drawing/2014/main" id="{7559717B-A507-8949-9B0C-9E1382C57E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8707" y="741710"/>
            <a:ext cx="20900376" cy="122044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4800" b="0" i="0">
                <a:solidFill>
                  <a:schemeClr val="tx1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ru-RU" dirty="0"/>
              <a:t>Заголовок слайда — </a:t>
            </a:r>
            <a:r>
              <a:rPr lang="en-US" dirty="0"/>
              <a:t>24pt</a:t>
            </a:r>
            <a:endParaRPr lang="ru-RU" dirty="0"/>
          </a:p>
        </p:txBody>
      </p:sp>
      <p:pic>
        <p:nvPicPr>
          <p:cNvPr id="5" name="Рисунок 14">
            <a:extLst>
              <a:ext uri="{FF2B5EF4-FFF2-40B4-BE49-F238E27FC236}">
                <a16:creationId xmlns:a16="http://schemas.microsoft.com/office/drawing/2014/main" id="{5D71BDCE-E95A-8447-9925-8063C57196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718378" y="9026392"/>
            <a:ext cx="1061517" cy="4035560"/>
          </a:xfrm>
          <a:prstGeom prst="rect">
            <a:avLst/>
          </a:prstGeom>
        </p:spPr>
      </p:pic>
      <p:sp>
        <p:nvSpPr>
          <p:cNvPr id="6" name="Номер слайда 2">
            <a:extLst>
              <a:ext uri="{FF2B5EF4-FFF2-40B4-BE49-F238E27FC236}">
                <a16:creationId xmlns:a16="http://schemas.microsoft.com/office/drawing/2014/main" id="{B4163D50-D756-7D43-89F7-9E752B1807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8707" y="12304628"/>
            <a:ext cx="1702401" cy="771696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rgbClr val="C2C2C6"/>
                </a:solidFill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867232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545">
          <p15:clr>
            <a:srgbClr val="FBAE40"/>
          </p15:clr>
        </p15:guide>
        <p15:guide id="3" pos="287">
          <p15:clr>
            <a:srgbClr val="FBAE40"/>
          </p15:clr>
        </p15:guide>
        <p15:guide id="4" orient="horz" pos="285">
          <p15:clr>
            <a:srgbClr val="FBAE40"/>
          </p15:clr>
        </p15:guide>
        <p15:guide id="5" pos="6490">
          <p15:clr>
            <a:srgbClr val="FBAE40"/>
          </p15:clr>
        </p15:guide>
        <p15:guide id="6" orient="horz" pos="3527">
          <p15:clr>
            <a:srgbClr val="FBAE40"/>
          </p15:clr>
        </p15:guide>
        <p15:guide id="7" orient="horz" pos="626">
          <p15:clr>
            <a:srgbClr val="FBAE40"/>
          </p15:clr>
        </p15:guide>
        <p15:guide id="8" orient="horz" pos="875">
          <p15:clr>
            <a:srgbClr val="FBAE40"/>
          </p15:clr>
        </p15:guide>
        <p15:guide id="9" orient="horz" pos="1283">
          <p15:clr>
            <a:srgbClr val="FBAE40"/>
          </p15:clr>
        </p15:guide>
        <p15:guide id="10" orient="horz" pos="952">
          <p15:clr>
            <a:srgbClr val="FBAE40"/>
          </p15:clr>
        </p15:guide>
        <p15:guide id="11" orient="horz" pos="1205">
          <p15:clr>
            <a:srgbClr val="FBAE40"/>
          </p15:clr>
        </p15:guide>
        <p15:guide id="12" orient="horz" pos="1537">
          <p15:clr>
            <a:srgbClr val="FBAE40"/>
          </p15:clr>
        </p15:guide>
        <p15:guide id="13" orient="horz" pos="1616">
          <p15:clr>
            <a:srgbClr val="FBAE40"/>
          </p15:clr>
        </p15:guide>
        <p15:guide id="14" orient="horz" pos="1871">
          <p15:clr>
            <a:srgbClr val="FBAE40"/>
          </p15:clr>
        </p15:guide>
        <p15:guide id="15" orient="horz" pos="1952">
          <p15:clr>
            <a:srgbClr val="FBAE40"/>
          </p15:clr>
        </p15:guide>
        <p15:guide id="16" orient="horz" pos="2205">
          <p15:clr>
            <a:srgbClr val="FBAE40"/>
          </p15:clr>
        </p15:guide>
        <p15:guide id="17" orient="horz" pos="2282">
          <p15:clr>
            <a:srgbClr val="FBAE40"/>
          </p15:clr>
        </p15:guide>
        <p15:guide id="18" orient="horz" pos="2536">
          <p15:clr>
            <a:srgbClr val="FBAE40"/>
          </p15:clr>
        </p15:guide>
        <p15:guide id="19" orient="horz" pos="2609">
          <p15:clr>
            <a:srgbClr val="FBAE40"/>
          </p15:clr>
        </p15:guide>
        <p15:guide id="20" orient="horz" pos="2867">
          <p15:clr>
            <a:srgbClr val="FBAE40"/>
          </p15:clr>
        </p15:guide>
        <p15:guide id="21" orient="horz" pos="2943">
          <p15:clr>
            <a:srgbClr val="FBAE40"/>
          </p15:clr>
        </p15:guide>
        <p15:guide id="22" orient="horz" pos="3194">
          <p15:clr>
            <a:srgbClr val="FBAE40"/>
          </p15:clr>
        </p15:guide>
        <p15:guide id="23" orient="horz" pos="3276">
          <p15:clr>
            <a:srgbClr val="FBAE40"/>
          </p15:clr>
        </p15:guide>
        <p15:guide id="24" pos="717">
          <p15:clr>
            <a:srgbClr val="FBAE40"/>
          </p15:clr>
        </p15:guide>
        <p15:guide id="25" pos="810">
          <p15:clr>
            <a:srgbClr val="FBAE40"/>
          </p15:clr>
        </p15:guide>
        <p15:guide id="26" pos="1247">
          <p15:clr>
            <a:srgbClr val="FBAE40"/>
          </p15:clr>
        </p15:guide>
        <p15:guide id="27" pos="1332">
          <p15:clr>
            <a:srgbClr val="FBAE40"/>
          </p15:clr>
        </p15:guide>
        <p15:guide id="28" pos="1768">
          <p15:clr>
            <a:srgbClr val="FBAE40"/>
          </p15:clr>
        </p15:guide>
        <p15:guide id="29" pos="1857">
          <p15:clr>
            <a:srgbClr val="FBAE40"/>
          </p15:clr>
        </p15:guide>
        <p15:guide id="30" pos="2292">
          <p15:clr>
            <a:srgbClr val="FBAE40"/>
          </p15:clr>
        </p15:guide>
        <p15:guide id="31" pos="2381">
          <p15:clr>
            <a:srgbClr val="FBAE40"/>
          </p15:clr>
        </p15:guide>
        <p15:guide id="32" pos="2817">
          <p15:clr>
            <a:srgbClr val="FBAE40"/>
          </p15:clr>
        </p15:guide>
        <p15:guide id="33" pos="2906">
          <p15:clr>
            <a:srgbClr val="FBAE40"/>
          </p15:clr>
        </p15:guide>
        <p15:guide id="34" pos="3341">
          <p15:clr>
            <a:srgbClr val="FBAE40"/>
          </p15:clr>
        </p15:guide>
        <p15:guide id="35" pos="3431">
          <p15:clr>
            <a:srgbClr val="FBAE40"/>
          </p15:clr>
        </p15:guide>
        <p15:guide id="36" pos="3955">
          <p15:clr>
            <a:srgbClr val="FBAE40"/>
          </p15:clr>
        </p15:guide>
        <p15:guide id="37" pos="3866">
          <p15:clr>
            <a:srgbClr val="FBAE40"/>
          </p15:clr>
        </p15:guide>
        <p15:guide id="38" pos="4388">
          <p15:clr>
            <a:srgbClr val="FBAE40"/>
          </p15:clr>
        </p15:guide>
        <p15:guide id="39" pos="4477">
          <p15:clr>
            <a:srgbClr val="FBAE40"/>
          </p15:clr>
        </p15:guide>
        <p15:guide id="40" pos="4917">
          <p15:clr>
            <a:srgbClr val="FBAE40"/>
          </p15:clr>
        </p15:guide>
        <p15:guide id="41" pos="5004">
          <p15:clr>
            <a:srgbClr val="FBAE40"/>
          </p15:clr>
        </p15:guide>
        <p15:guide id="42" pos="5436">
          <p15:clr>
            <a:srgbClr val="FBAE40"/>
          </p15:clr>
        </p15:guide>
        <p15:guide id="43" pos="5529">
          <p15:clr>
            <a:srgbClr val="FBAE40"/>
          </p15:clr>
        </p15:guide>
        <p15:guide id="44" pos="5964">
          <p15:clr>
            <a:srgbClr val="FBAE40"/>
          </p15:clr>
        </p15:guide>
        <p15:guide id="45" pos="6053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ber_screen">
    <p:bg>
      <p:bgPr>
        <a:solidFill>
          <a:srgbClr val="F0F1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745FCC99-99B3-4B4F-A7AA-D03FCBF1EA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24382413" cy="13716000"/>
          </a:xfrm>
          <a:prstGeom prst="rect">
            <a:avLst/>
          </a:prstGeom>
        </p:spPr>
      </p:pic>
      <p:sp>
        <p:nvSpPr>
          <p:cNvPr id="10" name="Номер слайда 2">
            <a:extLst>
              <a:ext uri="{FF2B5EF4-FFF2-40B4-BE49-F238E27FC236}">
                <a16:creationId xmlns:a16="http://schemas.microsoft.com/office/drawing/2014/main" id="{B2F674F7-5FF8-754C-8183-94D0A8A9D0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8707" y="12304628"/>
            <a:ext cx="1702401" cy="771696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rgbClr val="C2C2C6"/>
                </a:solidFill>
              </a:defRPr>
            </a:lvl1pPr>
          </a:lstStyle>
          <a:p>
            <a:fld id="{86CB4B4D-7CA3-9044-876B-883B54F8677D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7" name="Текст 12">
            <a:extLst>
              <a:ext uri="{FF2B5EF4-FFF2-40B4-BE49-F238E27FC236}">
                <a16:creationId xmlns:a16="http://schemas.microsoft.com/office/drawing/2014/main" id="{7559717B-A507-8949-9B0C-9E1382C57E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78707" y="741710"/>
            <a:ext cx="20900376" cy="122044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4800" b="0" i="0">
                <a:solidFill>
                  <a:schemeClr val="bg1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ru-RU" dirty="0"/>
              <a:t>Заголовок слайда — 24</a:t>
            </a:r>
            <a:r>
              <a:rPr lang="en-US" dirty="0" err="1"/>
              <a:t>pt</a:t>
            </a:r>
            <a:endParaRPr lang="ru-RU" dirty="0"/>
          </a:p>
        </p:txBody>
      </p:sp>
      <p:pic>
        <p:nvPicPr>
          <p:cNvPr id="6" name="Рисунок 8">
            <a:extLst>
              <a:ext uri="{FF2B5EF4-FFF2-40B4-BE49-F238E27FC236}">
                <a16:creationId xmlns:a16="http://schemas.microsoft.com/office/drawing/2014/main" id="{2909C652-2A34-9549-800A-004EA32396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duotone>
              <a:prstClr val="black"/>
              <a:schemeClr val="tx2">
                <a:tint val="45000"/>
                <a:satMod val="400000"/>
              </a:schemeClr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76656" y="9065768"/>
            <a:ext cx="1056063" cy="3989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26744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618">
          <p15:clr>
            <a:srgbClr val="FBAE40"/>
          </p15:clr>
        </p15:guide>
        <p15:guide id="3" pos="325">
          <p15:clr>
            <a:srgbClr val="FBAE40"/>
          </p15:clr>
        </p15:guide>
        <p15:guide id="4" orient="horz" pos="323">
          <p15:clr>
            <a:srgbClr val="FBAE40"/>
          </p15:clr>
        </p15:guide>
        <p15:guide id="5" pos="7355">
          <p15:clr>
            <a:srgbClr val="FBAE40"/>
          </p15:clr>
        </p15:guide>
        <p15:guide id="6" orient="horz" pos="3997">
          <p15:clr>
            <a:srgbClr val="FBAE40"/>
          </p15:clr>
        </p15:guide>
        <p15:guide id="7" orient="horz" pos="709">
          <p15:clr>
            <a:srgbClr val="FBAE40"/>
          </p15:clr>
        </p15:guide>
        <p15:guide id="8" orient="horz" pos="992">
          <p15:clr>
            <a:srgbClr val="FBAE40"/>
          </p15:clr>
        </p15:guide>
        <p15:guide id="9" orient="horz" pos="1454">
          <p15:clr>
            <a:srgbClr val="FBAE40"/>
          </p15:clr>
        </p15:guide>
        <p15:guide id="10" orient="horz" pos="1079">
          <p15:clr>
            <a:srgbClr val="FBAE40"/>
          </p15:clr>
        </p15:guide>
        <p15:guide id="11" orient="horz" pos="1366">
          <p15:clr>
            <a:srgbClr val="FBAE40"/>
          </p15:clr>
        </p15:guide>
        <p15:guide id="12" orient="horz" pos="1742">
          <p15:clr>
            <a:srgbClr val="FBAE40"/>
          </p15:clr>
        </p15:guide>
        <p15:guide id="13" orient="horz" pos="1832">
          <p15:clr>
            <a:srgbClr val="FBAE40"/>
          </p15:clr>
        </p15:guide>
        <p15:guide id="14" orient="horz" pos="2120">
          <p15:clr>
            <a:srgbClr val="FBAE40"/>
          </p15:clr>
        </p15:guide>
        <p15:guide id="15" orient="horz" pos="2212">
          <p15:clr>
            <a:srgbClr val="FBAE40"/>
          </p15:clr>
        </p15:guide>
        <p15:guide id="16" orient="horz" pos="2499">
          <p15:clr>
            <a:srgbClr val="FBAE40"/>
          </p15:clr>
        </p15:guide>
        <p15:guide id="17" orient="horz" pos="2586">
          <p15:clr>
            <a:srgbClr val="FBAE40"/>
          </p15:clr>
        </p15:guide>
        <p15:guide id="18" orient="horz" pos="2874">
          <p15:clr>
            <a:srgbClr val="FBAE40"/>
          </p15:clr>
        </p15:guide>
        <p15:guide id="19" orient="horz" pos="2957">
          <p15:clr>
            <a:srgbClr val="FBAE40"/>
          </p15:clr>
        </p15:guide>
        <p15:guide id="20" orient="horz" pos="3249">
          <p15:clr>
            <a:srgbClr val="FBAE40"/>
          </p15:clr>
        </p15:guide>
        <p15:guide id="21" orient="horz" pos="3335">
          <p15:clr>
            <a:srgbClr val="FBAE40"/>
          </p15:clr>
        </p15:guide>
        <p15:guide id="22" orient="horz" pos="3620">
          <p15:clr>
            <a:srgbClr val="FBAE40"/>
          </p15:clr>
        </p15:guide>
        <p15:guide id="23" orient="horz" pos="3713">
          <p15:clr>
            <a:srgbClr val="FBAE40"/>
          </p15:clr>
        </p15:guide>
        <p15:guide id="24" pos="813">
          <p15:clr>
            <a:srgbClr val="FBAE40"/>
          </p15:clr>
        </p15:guide>
        <p15:guide id="25" pos="918">
          <p15:clr>
            <a:srgbClr val="FBAE40"/>
          </p15:clr>
        </p15:guide>
        <p15:guide id="26" pos="1413">
          <p15:clr>
            <a:srgbClr val="FBAE40"/>
          </p15:clr>
        </p15:guide>
        <p15:guide id="27" pos="1510">
          <p15:clr>
            <a:srgbClr val="FBAE40"/>
          </p15:clr>
        </p15:guide>
        <p15:guide id="28" pos="2004">
          <p15:clr>
            <a:srgbClr val="FBAE40"/>
          </p15:clr>
        </p15:guide>
        <p15:guide id="29" pos="2105">
          <p15:clr>
            <a:srgbClr val="FBAE40"/>
          </p15:clr>
        </p15:guide>
        <p15:guide id="30" pos="2598">
          <p15:clr>
            <a:srgbClr val="FBAE40"/>
          </p15:clr>
        </p15:guide>
        <p15:guide id="31" pos="2699">
          <p15:clr>
            <a:srgbClr val="FBAE40"/>
          </p15:clr>
        </p15:guide>
        <p15:guide id="32" pos="3193">
          <p15:clr>
            <a:srgbClr val="FBAE40"/>
          </p15:clr>
        </p15:guide>
        <p15:guide id="33" pos="3294">
          <p15:clr>
            <a:srgbClr val="FBAE40"/>
          </p15:clr>
        </p15:guide>
        <p15:guide id="34" pos="3787">
          <p15:clr>
            <a:srgbClr val="FBAE40"/>
          </p15:clr>
        </p15:guide>
        <p15:guide id="35" pos="3888">
          <p15:clr>
            <a:srgbClr val="FBAE40"/>
          </p15:clr>
        </p15:guide>
        <p15:guide id="36" pos="4482">
          <p15:clr>
            <a:srgbClr val="FBAE40"/>
          </p15:clr>
        </p15:guide>
        <p15:guide id="37" pos="4381">
          <p15:clr>
            <a:srgbClr val="FBAE40"/>
          </p15:clr>
        </p15:guide>
        <p15:guide id="38" pos="4973">
          <p15:clr>
            <a:srgbClr val="FBAE40"/>
          </p15:clr>
        </p15:guide>
        <p15:guide id="39" pos="5074">
          <p15:clr>
            <a:srgbClr val="FBAE40"/>
          </p15:clr>
        </p15:guide>
        <p15:guide id="40" pos="5573">
          <p15:clr>
            <a:srgbClr val="FBAE40"/>
          </p15:clr>
        </p15:guide>
        <p15:guide id="41" pos="5671">
          <p15:clr>
            <a:srgbClr val="FBAE40"/>
          </p15:clr>
        </p15:guide>
        <p15:guide id="42" pos="6161">
          <p15:clr>
            <a:srgbClr val="FBAE40"/>
          </p15:clr>
        </p15:guide>
        <p15:guide id="43" pos="6266">
          <p15:clr>
            <a:srgbClr val="FBAE40"/>
          </p15:clr>
        </p15:guide>
        <p15:guide id="44" pos="6759">
          <p15:clr>
            <a:srgbClr val="FBAE40"/>
          </p15:clr>
        </p15:guide>
        <p15:guide id="45" pos="686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ark—Старт ">
    <p:bg>
      <p:bgPr>
        <a:solidFill>
          <a:srgbClr val="050D1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524F96AD-7847-4645-9CFA-8DC3250C3AF4}"/>
              </a:ext>
            </a:extLst>
          </p:cNvPr>
          <p:cNvSpPr/>
          <p:nvPr userDrawn="1"/>
        </p:nvSpPr>
        <p:spPr>
          <a:xfrm rot="10800000">
            <a:off x="-2" y="0"/>
            <a:ext cx="24382413" cy="13716000"/>
          </a:xfrm>
          <a:prstGeom prst="rect">
            <a:avLst/>
          </a:prstGeom>
          <a:gradFill flip="none" rotWithShape="1">
            <a:gsLst>
              <a:gs pos="61000">
                <a:schemeClr val="bg2">
                  <a:alpha val="0"/>
                </a:schemeClr>
              </a:gs>
              <a:gs pos="14000">
                <a:schemeClr val="accent3">
                  <a:lumMod val="100000"/>
                </a:schemeClr>
              </a:gs>
              <a:gs pos="28000">
                <a:schemeClr val="accent3">
                  <a:lumMod val="100000"/>
                  <a:alpha val="69000"/>
                </a:schemeClr>
              </a:gs>
              <a:gs pos="45000">
                <a:schemeClr val="accent3">
                  <a:lumMod val="100000"/>
                  <a:alpha val="21000"/>
                </a:schemeClr>
              </a:gs>
            </a:gsLst>
            <a:path path="circle">
              <a:fillToRect l="50000" t="-80000" r="50000" b="18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200" dirty="0"/>
          </a:p>
        </p:txBody>
      </p:sp>
    </p:spTree>
    <p:extLst>
      <p:ext uri="{BB962C8B-B14F-4D97-AF65-F5344CB8AC3E}">
        <p14:creationId xmlns:p14="http://schemas.microsoft.com/office/powerpoint/2010/main" val="3675018832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orient="horz" pos="618">
          <p15:clr>
            <a:srgbClr val="FBAE40"/>
          </p15:clr>
        </p15:guide>
        <p15:guide id="3" pos="325">
          <p15:clr>
            <a:srgbClr val="FBAE40"/>
          </p15:clr>
        </p15:guide>
        <p15:guide id="4" orient="horz" pos="323">
          <p15:clr>
            <a:srgbClr val="FBAE40"/>
          </p15:clr>
        </p15:guide>
        <p15:guide id="5" pos="7355">
          <p15:clr>
            <a:srgbClr val="FBAE40"/>
          </p15:clr>
        </p15:guide>
        <p15:guide id="6" orient="horz" pos="3997">
          <p15:clr>
            <a:srgbClr val="FBAE40"/>
          </p15:clr>
        </p15:guide>
        <p15:guide id="7" orient="horz" pos="709">
          <p15:clr>
            <a:srgbClr val="FBAE40"/>
          </p15:clr>
        </p15:guide>
        <p15:guide id="8" orient="horz" pos="992">
          <p15:clr>
            <a:srgbClr val="FBAE40"/>
          </p15:clr>
        </p15:guide>
        <p15:guide id="9" orient="horz" pos="1454">
          <p15:clr>
            <a:srgbClr val="FBAE40"/>
          </p15:clr>
        </p15:guide>
        <p15:guide id="10" orient="horz" pos="1079">
          <p15:clr>
            <a:srgbClr val="FBAE40"/>
          </p15:clr>
        </p15:guide>
        <p15:guide id="11" orient="horz" pos="1366">
          <p15:clr>
            <a:srgbClr val="FBAE40"/>
          </p15:clr>
        </p15:guide>
        <p15:guide id="12" orient="horz" pos="1742">
          <p15:clr>
            <a:srgbClr val="FBAE40"/>
          </p15:clr>
        </p15:guide>
        <p15:guide id="13" orient="horz" pos="1832">
          <p15:clr>
            <a:srgbClr val="FBAE40"/>
          </p15:clr>
        </p15:guide>
        <p15:guide id="14" orient="horz" pos="2120">
          <p15:clr>
            <a:srgbClr val="FBAE40"/>
          </p15:clr>
        </p15:guide>
        <p15:guide id="15" orient="horz" pos="2212">
          <p15:clr>
            <a:srgbClr val="FBAE40"/>
          </p15:clr>
        </p15:guide>
        <p15:guide id="16" orient="horz" pos="2499">
          <p15:clr>
            <a:srgbClr val="FBAE40"/>
          </p15:clr>
        </p15:guide>
        <p15:guide id="17" orient="horz" pos="2586">
          <p15:clr>
            <a:srgbClr val="FBAE40"/>
          </p15:clr>
        </p15:guide>
        <p15:guide id="18" orient="horz" pos="2874">
          <p15:clr>
            <a:srgbClr val="FBAE40"/>
          </p15:clr>
        </p15:guide>
        <p15:guide id="19" orient="horz" pos="2957">
          <p15:clr>
            <a:srgbClr val="FBAE40"/>
          </p15:clr>
        </p15:guide>
        <p15:guide id="20" orient="horz" pos="3249">
          <p15:clr>
            <a:srgbClr val="FBAE40"/>
          </p15:clr>
        </p15:guide>
        <p15:guide id="21" orient="horz" pos="3335">
          <p15:clr>
            <a:srgbClr val="FBAE40"/>
          </p15:clr>
        </p15:guide>
        <p15:guide id="22" orient="horz" pos="3620">
          <p15:clr>
            <a:srgbClr val="FBAE40"/>
          </p15:clr>
        </p15:guide>
        <p15:guide id="23" orient="horz" pos="3713">
          <p15:clr>
            <a:srgbClr val="FBAE40"/>
          </p15:clr>
        </p15:guide>
        <p15:guide id="24" pos="813">
          <p15:clr>
            <a:srgbClr val="FBAE40"/>
          </p15:clr>
        </p15:guide>
        <p15:guide id="25" pos="918">
          <p15:clr>
            <a:srgbClr val="FBAE40"/>
          </p15:clr>
        </p15:guide>
        <p15:guide id="26" pos="1413">
          <p15:clr>
            <a:srgbClr val="FBAE40"/>
          </p15:clr>
        </p15:guide>
        <p15:guide id="27" pos="1510">
          <p15:clr>
            <a:srgbClr val="FBAE40"/>
          </p15:clr>
        </p15:guide>
        <p15:guide id="28" pos="2004">
          <p15:clr>
            <a:srgbClr val="FBAE40"/>
          </p15:clr>
        </p15:guide>
        <p15:guide id="29" pos="2105">
          <p15:clr>
            <a:srgbClr val="FBAE40"/>
          </p15:clr>
        </p15:guide>
        <p15:guide id="30" pos="2598">
          <p15:clr>
            <a:srgbClr val="FBAE40"/>
          </p15:clr>
        </p15:guide>
        <p15:guide id="31" pos="2699">
          <p15:clr>
            <a:srgbClr val="FBAE40"/>
          </p15:clr>
        </p15:guide>
        <p15:guide id="32" pos="3193">
          <p15:clr>
            <a:srgbClr val="FBAE40"/>
          </p15:clr>
        </p15:guide>
        <p15:guide id="33" pos="3294">
          <p15:clr>
            <a:srgbClr val="FBAE40"/>
          </p15:clr>
        </p15:guide>
        <p15:guide id="34" pos="3787">
          <p15:clr>
            <a:srgbClr val="FBAE40"/>
          </p15:clr>
        </p15:guide>
        <p15:guide id="35" pos="3888">
          <p15:clr>
            <a:srgbClr val="FBAE40"/>
          </p15:clr>
        </p15:guide>
        <p15:guide id="36" pos="4482">
          <p15:clr>
            <a:srgbClr val="FBAE40"/>
          </p15:clr>
        </p15:guide>
        <p15:guide id="37" pos="4381">
          <p15:clr>
            <a:srgbClr val="FBAE40"/>
          </p15:clr>
        </p15:guide>
        <p15:guide id="38" pos="4973">
          <p15:clr>
            <a:srgbClr val="FBAE40"/>
          </p15:clr>
        </p15:guide>
        <p15:guide id="39" pos="5074">
          <p15:clr>
            <a:srgbClr val="FBAE40"/>
          </p15:clr>
        </p15:guide>
        <p15:guide id="40" pos="5573">
          <p15:clr>
            <a:srgbClr val="FBAE40"/>
          </p15:clr>
        </p15:guide>
        <p15:guide id="41" pos="5671">
          <p15:clr>
            <a:srgbClr val="FBAE40"/>
          </p15:clr>
        </p15:guide>
        <p15:guide id="42" pos="6161">
          <p15:clr>
            <a:srgbClr val="FBAE40"/>
          </p15:clr>
        </p15:guide>
        <p15:guide id="43" pos="6266">
          <p15:clr>
            <a:srgbClr val="FBAE40"/>
          </p15:clr>
        </p15:guide>
        <p15:guide id="44" pos="6759">
          <p15:clr>
            <a:srgbClr val="FBAE40"/>
          </p15:clr>
        </p15:guide>
        <p15:guide id="45" pos="686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_крупный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5">
            <a:extLst>
              <a:ext uri="{FF2B5EF4-FFF2-40B4-BE49-F238E27FC236}">
                <a16:creationId xmlns:a16="http://schemas.microsoft.com/office/drawing/2014/main" id="{9953ACE8-BC14-9944-A3B1-C287C41610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79563" y="12614275"/>
            <a:ext cx="17573625" cy="368300"/>
          </a:xfrm>
          <a:prstGeom prst="rect">
            <a:avLst/>
          </a:prstGeom>
        </p:spPr>
        <p:txBody>
          <a:bodyPr/>
          <a:lstStyle>
            <a:lvl1pPr>
              <a:defRPr lang="ru-RU" sz="2000" kern="1200" baseline="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ru-RU" sz="2000" kern="12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Нижний колонтитул</a:t>
            </a:r>
          </a:p>
        </p:txBody>
      </p:sp>
      <p:pic>
        <p:nvPicPr>
          <p:cNvPr id="14" name="Рисунок 13" title="SberDevices">
            <a:extLst>
              <a:ext uri="{FF2B5EF4-FFF2-40B4-BE49-F238E27FC236}">
                <a16:creationId xmlns:a16="http://schemas.microsoft.com/office/drawing/2014/main" id="{9DFB4B99-9044-6243-9752-41FDB13617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087" y="1306843"/>
            <a:ext cx="6382727" cy="2827460"/>
          </a:xfrm>
          <a:prstGeom prst="rect">
            <a:avLst/>
          </a:prstGeom>
        </p:spPr>
      </p:pic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4E9421A5-94C3-974B-AD8D-3694DE694E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84000" y="4117800"/>
            <a:ext cx="21232800" cy="4399200"/>
          </a:xfrm>
          <a:prstGeom prst="rect">
            <a:avLst/>
          </a:prstGeom>
        </p:spPr>
        <p:txBody>
          <a:bodyPr/>
          <a:lstStyle>
            <a:lvl1pPr>
              <a:lnSpc>
                <a:spcPts val="15000"/>
              </a:lnSpc>
              <a:spcAft>
                <a:spcPts val="0"/>
              </a:spcAft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>
              <a:defRPr lang="en-RU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Короткий заголовок презентации</a:t>
            </a:r>
            <a:endParaRPr lang="en-RU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E56E2089-B8E3-774A-8783-53F0A95C68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84000" y="8593200"/>
            <a:ext cx="13914875" cy="1818167"/>
          </a:xfrm>
          <a:prstGeom prst="rect">
            <a:avLst/>
          </a:prstGeom>
        </p:spPr>
        <p:txBody>
          <a:bodyPr vert="horz" lIns="0" tIns="144000" rIns="0" bIns="21600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4800" baseline="0" dirty="0"/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>
              <a:spcAft>
                <a:spcPts val="0"/>
              </a:spcAft>
            </a:pPr>
            <a:r>
              <a:rPr lang="ru-RU" dirty="0"/>
              <a:t>Подзаголовок, лид, ввдодна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78911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емный титульный слайд_ маленький заголовок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5">
            <a:extLst>
              <a:ext uri="{FF2B5EF4-FFF2-40B4-BE49-F238E27FC236}">
                <a16:creationId xmlns:a16="http://schemas.microsoft.com/office/drawing/2014/main" id="{9953ACE8-BC14-9944-A3B1-C287C41610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79563" y="12614275"/>
            <a:ext cx="17573625" cy="368300"/>
          </a:xfrm>
          <a:prstGeom prst="rect">
            <a:avLst/>
          </a:prstGeom>
        </p:spPr>
        <p:txBody>
          <a:bodyPr/>
          <a:lstStyle>
            <a:lvl1pPr>
              <a:defRPr lang="ru-RU" sz="2000" kern="120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ru-RU" sz="2000" kern="12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3E968C9-994D-264F-A4E1-AE2D89FC391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84000" y="3822700"/>
            <a:ext cx="21232800" cy="7693700"/>
          </a:xfrm>
          <a:prstGeom prst="rect">
            <a:avLst/>
          </a:prstGeom>
        </p:spPr>
        <p:txBody>
          <a:bodyPr vert="horz" lIns="0" tIns="288000" rIns="0" bIns="0" rtlCol="0" anchor="t">
            <a:noAutofit/>
          </a:bodyPr>
          <a:lstStyle>
            <a:lvl1pPr marL="0" marR="0" indent="0" algn="l" defTabSz="182861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1000" b="0" dirty="0">
                <a:solidFill>
                  <a:schemeClr val="bg1"/>
                </a:solidFill>
              </a:defRPr>
            </a:lvl1pPr>
          </a:lstStyle>
          <a:p>
            <a:pPr marR="0" lvl="0" indent="0" fontAlgn="auto">
              <a:lnSpc>
                <a:spcPts val="12000"/>
              </a:lnSpc>
              <a:spcAft>
                <a:spcPts val="0"/>
              </a:spcAft>
              <a:buClrTx/>
              <a:buSzTx/>
              <a:buFontTx/>
              <a:tabLst/>
            </a:pPr>
            <a:r>
              <a:rPr lang="ru-RU" dirty="0"/>
              <a:t>Длинный заголовок</a:t>
            </a:r>
            <a:br>
              <a:rPr lang="ru-RU" dirty="0"/>
            </a:br>
            <a:r>
              <a:rPr lang="ru-RU" dirty="0"/>
              <a:t>презентации</a:t>
            </a:r>
            <a:endParaRPr lang="en-US" dirty="0"/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DF2A8739-DD98-3747-83BC-A92891C3CAF1}"/>
              </a:ext>
            </a:extLst>
          </p:cNvPr>
          <p:cNvGrpSpPr/>
          <p:nvPr userDrawn="1"/>
        </p:nvGrpSpPr>
        <p:grpSpPr>
          <a:xfrm>
            <a:off x="941087" y="1306843"/>
            <a:ext cx="6382727" cy="2827460"/>
            <a:chOff x="941087" y="1306843"/>
            <a:chExt cx="6382727" cy="2827460"/>
          </a:xfrm>
        </p:grpSpPr>
        <p:pic>
          <p:nvPicPr>
            <p:cNvPr id="7" name="Рисунок 6" title="SberDevices">
              <a:extLst>
                <a:ext uri="{FF2B5EF4-FFF2-40B4-BE49-F238E27FC236}">
                  <a16:creationId xmlns:a16="http://schemas.microsoft.com/office/drawing/2014/main" id="{6C632F46-4475-7B46-BDAB-4CD5ED8F3CD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302"/>
            <a:stretch/>
          </p:blipFill>
          <p:spPr>
            <a:xfrm>
              <a:off x="4087906" y="1306843"/>
              <a:ext cx="3235908" cy="2827460"/>
            </a:xfrm>
            <a:prstGeom prst="rect">
              <a:avLst/>
            </a:prstGeom>
          </p:spPr>
        </p:pic>
        <p:pic>
          <p:nvPicPr>
            <p:cNvPr id="8" name="Рисунок 7" title="SberDevices">
              <a:extLst>
                <a:ext uri="{FF2B5EF4-FFF2-40B4-BE49-F238E27FC236}">
                  <a16:creationId xmlns:a16="http://schemas.microsoft.com/office/drawing/2014/main" id="{1A86360B-3AF9-9347-AA7D-6D0B841777A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276"/>
            <a:stretch/>
          </p:blipFill>
          <p:spPr>
            <a:xfrm>
              <a:off x="941087" y="1306843"/>
              <a:ext cx="3173713" cy="282746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206116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Градиентный титульный слайд_маленький заголовок">
    <p:bg>
      <p:bgPr>
        <a:gradFill>
          <a:gsLst>
            <a:gs pos="0">
              <a:srgbClr val="000000"/>
            </a:gs>
            <a:gs pos="100000">
              <a:srgbClr val="0D0D0D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7B1E1103-500B-C04E-89E8-C56F99A98EB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24384000" cy="13716000"/>
          </a:xfrm>
          <a:prstGeom prst="rect">
            <a:avLst/>
          </a:prstGeom>
        </p:spPr>
      </p:pic>
      <p:sp>
        <p:nvSpPr>
          <p:cNvPr id="6" name="Текст 5">
            <a:extLst>
              <a:ext uri="{FF2B5EF4-FFF2-40B4-BE49-F238E27FC236}">
                <a16:creationId xmlns:a16="http://schemas.microsoft.com/office/drawing/2014/main" id="{9953ACE8-BC14-9944-A3B1-C287C41610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79563" y="12614275"/>
            <a:ext cx="17573625" cy="368300"/>
          </a:xfrm>
          <a:prstGeom prst="rect">
            <a:avLst/>
          </a:prstGeom>
        </p:spPr>
        <p:txBody>
          <a:bodyPr/>
          <a:lstStyle>
            <a:lvl1pPr>
              <a:defRPr lang="ru-RU" sz="2000" kern="1200" baseline="0" dirty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ru-RU" sz="2000" kern="12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3E968C9-994D-264F-A4E1-AE2D89FC391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84000" y="3822700"/>
            <a:ext cx="21232800" cy="7693700"/>
          </a:xfrm>
          <a:prstGeom prst="rect">
            <a:avLst/>
          </a:prstGeom>
        </p:spPr>
        <p:txBody>
          <a:bodyPr vert="horz" lIns="0" tIns="288000" rIns="0" bIns="0" rtlCol="0" anchor="t">
            <a:noAutofit/>
          </a:bodyPr>
          <a:lstStyle>
            <a:lvl1pPr marL="0" marR="0" indent="0" algn="l" defTabSz="182861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11000" b="0" dirty="0">
                <a:solidFill>
                  <a:schemeClr val="bg1"/>
                </a:solidFill>
              </a:defRPr>
            </a:lvl1pPr>
          </a:lstStyle>
          <a:p>
            <a:pPr marR="0" lvl="0" indent="0" fontAlgn="auto">
              <a:lnSpc>
                <a:spcPts val="12000"/>
              </a:lnSpc>
              <a:spcAft>
                <a:spcPts val="0"/>
              </a:spcAft>
              <a:buClrTx/>
              <a:buSzTx/>
              <a:buFontTx/>
              <a:tabLst/>
            </a:pPr>
            <a:r>
              <a:rPr lang="ru-RU" dirty="0"/>
              <a:t>Длинный заголовок</a:t>
            </a:r>
            <a:br>
              <a:rPr lang="ru-RU" dirty="0"/>
            </a:br>
            <a:r>
              <a:rPr lang="ru-RU" dirty="0"/>
              <a:t>презентации</a:t>
            </a:r>
            <a:endParaRPr lang="en-US" dirty="0"/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DF2A8739-DD98-3747-83BC-A92891C3CAF1}"/>
              </a:ext>
            </a:extLst>
          </p:cNvPr>
          <p:cNvGrpSpPr/>
          <p:nvPr userDrawn="1"/>
        </p:nvGrpSpPr>
        <p:grpSpPr>
          <a:xfrm>
            <a:off x="941087" y="1306843"/>
            <a:ext cx="6382727" cy="2827460"/>
            <a:chOff x="941087" y="1306843"/>
            <a:chExt cx="6382727" cy="2827460"/>
          </a:xfrm>
        </p:grpSpPr>
        <p:pic>
          <p:nvPicPr>
            <p:cNvPr id="7" name="Рисунок 6" title="SberDevices">
              <a:extLst>
                <a:ext uri="{FF2B5EF4-FFF2-40B4-BE49-F238E27FC236}">
                  <a16:creationId xmlns:a16="http://schemas.microsoft.com/office/drawing/2014/main" id="{6C632F46-4475-7B46-BDAB-4CD5ED8F3CD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302"/>
            <a:stretch/>
          </p:blipFill>
          <p:spPr>
            <a:xfrm>
              <a:off x="4087906" y="1306843"/>
              <a:ext cx="3235908" cy="2827460"/>
            </a:xfrm>
            <a:prstGeom prst="rect">
              <a:avLst/>
            </a:prstGeom>
          </p:spPr>
        </p:pic>
        <p:pic>
          <p:nvPicPr>
            <p:cNvPr id="8" name="Рисунок 7" title="SberDevices">
              <a:extLst>
                <a:ext uri="{FF2B5EF4-FFF2-40B4-BE49-F238E27FC236}">
                  <a16:creationId xmlns:a16="http://schemas.microsoft.com/office/drawing/2014/main" id="{1A86360B-3AF9-9347-AA7D-6D0B841777A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276"/>
            <a:stretch/>
          </p:blipFill>
          <p:spPr>
            <a:xfrm>
              <a:off x="941087" y="1306843"/>
              <a:ext cx="3173713" cy="282746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920128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Темный титульный слайд_крупный заголовок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5">
            <a:extLst>
              <a:ext uri="{FF2B5EF4-FFF2-40B4-BE49-F238E27FC236}">
                <a16:creationId xmlns:a16="http://schemas.microsoft.com/office/drawing/2014/main" id="{9953ACE8-BC14-9944-A3B1-C287C41610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79563" y="12614275"/>
            <a:ext cx="17573625" cy="368300"/>
          </a:xfrm>
          <a:prstGeom prst="rect">
            <a:avLst/>
          </a:prstGeom>
        </p:spPr>
        <p:txBody>
          <a:bodyPr/>
          <a:lstStyle>
            <a:lvl1pPr>
              <a:defRPr lang="ru-RU" sz="2000" kern="120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ru-RU" sz="2000" kern="12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4E9421A5-94C3-974B-AD8D-3694DE694E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84000" y="4117800"/>
            <a:ext cx="21232800" cy="4399200"/>
          </a:xfrm>
          <a:prstGeom prst="rect">
            <a:avLst/>
          </a:prstGeom>
        </p:spPr>
        <p:txBody>
          <a:bodyPr/>
          <a:lstStyle>
            <a:lvl1pPr>
              <a:lnSpc>
                <a:spcPts val="15000"/>
              </a:lnSpc>
              <a:spcAft>
                <a:spcPts val="0"/>
              </a:spcAft>
              <a:defRPr lang="en-GB" sz="150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>
              <a:defRPr lang="en-RU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Короткий заголовок презентации</a:t>
            </a:r>
            <a:endParaRPr lang="en-RU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E56E2089-B8E3-774A-8783-53F0A95C68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84000" y="8593200"/>
            <a:ext cx="13914875" cy="1818167"/>
          </a:xfrm>
          <a:prstGeom prst="rect">
            <a:avLst/>
          </a:prstGeom>
        </p:spPr>
        <p:txBody>
          <a:bodyPr vert="horz" lIns="0" tIns="144000" rIns="0" bIns="21600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4800" baseline="0" dirty="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>
              <a:spcAft>
                <a:spcPts val="0"/>
              </a:spcAft>
            </a:pPr>
            <a:r>
              <a:rPr lang="ru-RU" dirty="0"/>
              <a:t>Подзаголовок, лид, ввдодная</a:t>
            </a:r>
            <a:endParaRPr lang="en-US" dirty="0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DCBA6D32-8EF1-7D4B-B4B7-928ED2D862C3}"/>
              </a:ext>
            </a:extLst>
          </p:cNvPr>
          <p:cNvGrpSpPr/>
          <p:nvPr userDrawn="1"/>
        </p:nvGrpSpPr>
        <p:grpSpPr>
          <a:xfrm>
            <a:off x="941087" y="1306843"/>
            <a:ext cx="6382727" cy="2827460"/>
            <a:chOff x="941087" y="1306843"/>
            <a:chExt cx="6382727" cy="2827460"/>
          </a:xfrm>
        </p:grpSpPr>
        <p:pic>
          <p:nvPicPr>
            <p:cNvPr id="14" name="Рисунок 13" title="SberDevices">
              <a:extLst>
                <a:ext uri="{FF2B5EF4-FFF2-40B4-BE49-F238E27FC236}">
                  <a16:creationId xmlns:a16="http://schemas.microsoft.com/office/drawing/2014/main" id="{9DFB4B99-9044-6243-9752-41FDB13617F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302"/>
            <a:stretch/>
          </p:blipFill>
          <p:spPr>
            <a:xfrm>
              <a:off x="4087906" y="1306843"/>
              <a:ext cx="3235908" cy="2827460"/>
            </a:xfrm>
            <a:prstGeom prst="rect">
              <a:avLst/>
            </a:prstGeom>
          </p:spPr>
        </p:pic>
        <p:pic>
          <p:nvPicPr>
            <p:cNvPr id="8" name="Рисунок 7" title="SberDevices">
              <a:extLst>
                <a:ext uri="{FF2B5EF4-FFF2-40B4-BE49-F238E27FC236}">
                  <a16:creationId xmlns:a16="http://schemas.microsoft.com/office/drawing/2014/main" id="{08FB55F8-02E2-0248-8F58-EC56520F843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276"/>
            <a:stretch/>
          </p:blipFill>
          <p:spPr>
            <a:xfrm>
              <a:off x="941087" y="1306843"/>
              <a:ext cx="3173713" cy="282746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826111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Титульный слайд с лава шарами_маленький заголовок">
    <p:bg>
      <p:bgPr>
        <a:gradFill>
          <a:gsLst>
            <a:gs pos="0">
              <a:srgbClr val="000000"/>
            </a:gs>
            <a:gs pos="100000">
              <a:srgbClr val="0D0D0D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6">
            <a:extLst>
              <a:ext uri="{FF2B5EF4-FFF2-40B4-BE49-F238E27FC236}">
                <a16:creationId xmlns:a16="http://schemas.microsoft.com/office/drawing/2014/main" id="{A43800E1-3E85-D34F-8647-9118B1196A0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76" t="1075" r="1340" b="1333"/>
          <a:stretch/>
        </p:blipFill>
        <p:spPr>
          <a:xfrm>
            <a:off x="0" y="0"/>
            <a:ext cx="24382413" cy="13716000"/>
          </a:xfrm>
          <a:prstGeom prst="rect">
            <a:avLst/>
          </a:prstGeom>
        </p:spPr>
      </p:pic>
      <p:pic>
        <p:nvPicPr>
          <p:cNvPr id="11" name="Picture 6">
            <a:extLst>
              <a:ext uri="{FF2B5EF4-FFF2-40B4-BE49-F238E27FC236}">
                <a16:creationId xmlns:a16="http://schemas.microsoft.com/office/drawing/2014/main" id="{CFC879B3-6671-AF46-92E2-6F7D234BAAD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6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46316" t="42830" r="21432"/>
          <a:stretch/>
        </p:blipFill>
        <p:spPr>
          <a:xfrm>
            <a:off x="11447840" y="5955657"/>
            <a:ext cx="7971775" cy="7948601"/>
          </a:xfrm>
          <a:prstGeom prst="rect">
            <a:avLst/>
          </a:prstGeom>
        </p:spPr>
      </p:pic>
      <p:sp>
        <p:nvSpPr>
          <p:cNvPr id="6" name="Текст 5">
            <a:extLst>
              <a:ext uri="{FF2B5EF4-FFF2-40B4-BE49-F238E27FC236}">
                <a16:creationId xmlns:a16="http://schemas.microsoft.com/office/drawing/2014/main" id="{9953ACE8-BC14-9944-A3B1-C287C41610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79563" y="12614275"/>
            <a:ext cx="17573625" cy="368300"/>
          </a:xfrm>
          <a:prstGeom prst="rect">
            <a:avLst/>
          </a:prstGeom>
        </p:spPr>
        <p:txBody>
          <a:bodyPr/>
          <a:lstStyle>
            <a:lvl1pPr>
              <a:defRPr lang="ru-RU" sz="20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ru-RU" sz="2000" kern="12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Нижний колонтитул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4E9421A5-94C3-974B-AD8D-3694DE694E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84000" y="4117800"/>
            <a:ext cx="21232800" cy="4399200"/>
          </a:xfrm>
          <a:prstGeom prst="rect">
            <a:avLst/>
          </a:prstGeom>
        </p:spPr>
        <p:txBody>
          <a:bodyPr/>
          <a:lstStyle>
            <a:lvl1pPr>
              <a:lnSpc>
                <a:spcPts val="15000"/>
              </a:lnSpc>
              <a:spcAft>
                <a:spcPts val="0"/>
              </a:spcAft>
              <a:defRPr lang="en-GB" sz="15000" b="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>
              <a:defRPr lang="en-GB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>
              <a:defRPr lang="en-RU" sz="15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r>
              <a:rPr lang="ru-RU" dirty="0"/>
              <a:t>Короткий заголовок презентации</a:t>
            </a:r>
            <a:endParaRPr lang="en-RU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E56E2089-B8E3-774A-8783-53F0A95C68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84000" y="8593200"/>
            <a:ext cx="13914875" cy="1818167"/>
          </a:xfrm>
          <a:prstGeom prst="rect">
            <a:avLst/>
          </a:prstGeom>
        </p:spPr>
        <p:txBody>
          <a:bodyPr vert="horz" lIns="0" tIns="144000" rIns="0" bIns="216000" rtlCol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4800" baseline="0" dirty="0">
                <a:solidFill>
                  <a:schemeClr val="bg1"/>
                </a:solidFill>
              </a:defRPr>
            </a:lvl1pPr>
            <a:lvl2pPr marL="914354" indent="0" algn="ctr">
              <a:buNone/>
              <a:defRPr sz="4000"/>
            </a:lvl2pPr>
            <a:lvl3pPr marL="1828710" indent="0" algn="ctr">
              <a:buNone/>
              <a:defRPr sz="3600"/>
            </a:lvl3pPr>
            <a:lvl4pPr marL="2743064" indent="0" algn="ctr">
              <a:buNone/>
              <a:defRPr sz="3200"/>
            </a:lvl4pPr>
            <a:lvl5pPr marL="3657419" indent="0" algn="ctr">
              <a:buNone/>
              <a:defRPr sz="3200"/>
            </a:lvl5pPr>
            <a:lvl6pPr marL="4571773" indent="0" algn="ctr">
              <a:buNone/>
              <a:defRPr sz="3200"/>
            </a:lvl6pPr>
            <a:lvl7pPr marL="5486127" indent="0" algn="ctr">
              <a:buNone/>
              <a:defRPr sz="3200"/>
            </a:lvl7pPr>
            <a:lvl8pPr marL="6400483" indent="0" algn="ctr">
              <a:buNone/>
              <a:defRPr sz="3200"/>
            </a:lvl8pPr>
            <a:lvl9pPr marL="7314837" indent="0" algn="ctr">
              <a:buNone/>
              <a:defRPr sz="3200"/>
            </a:lvl9pPr>
          </a:lstStyle>
          <a:p>
            <a:pPr lvl="0">
              <a:spcAft>
                <a:spcPts val="0"/>
              </a:spcAft>
            </a:pPr>
            <a:r>
              <a:rPr lang="ru-RU" dirty="0"/>
              <a:t>Подзаголовок, лид, ввдодная</a:t>
            </a:r>
            <a:endParaRPr lang="en-US" dirty="0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DCBA6D32-8EF1-7D4B-B4B7-928ED2D862C3}"/>
              </a:ext>
            </a:extLst>
          </p:cNvPr>
          <p:cNvGrpSpPr/>
          <p:nvPr userDrawn="1"/>
        </p:nvGrpSpPr>
        <p:grpSpPr>
          <a:xfrm>
            <a:off x="941087" y="1306843"/>
            <a:ext cx="6382727" cy="2827460"/>
            <a:chOff x="941087" y="1306843"/>
            <a:chExt cx="6382727" cy="2827460"/>
          </a:xfrm>
        </p:grpSpPr>
        <p:pic>
          <p:nvPicPr>
            <p:cNvPr id="14" name="Рисунок 13" title="SberDevices">
              <a:extLst>
                <a:ext uri="{FF2B5EF4-FFF2-40B4-BE49-F238E27FC236}">
                  <a16:creationId xmlns:a16="http://schemas.microsoft.com/office/drawing/2014/main" id="{9DFB4B99-9044-6243-9752-41FDB13617F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302"/>
            <a:stretch/>
          </p:blipFill>
          <p:spPr>
            <a:xfrm>
              <a:off x="4087906" y="1306843"/>
              <a:ext cx="3235908" cy="2827460"/>
            </a:xfrm>
            <a:prstGeom prst="rect">
              <a:avLst/>
            </a:prstGeom>
          </p:spPr>
        </p:pic>
        <p:pic>
          <p:nvPicPr>
            <p:cNvPr id="8" name="Рисунок 7" title="SberDevices">
              <a:extLst>
                <a:ext uri="{FF2B5EF4-FFF2-40B4-BE49-F238E27FC236}">
                  <a16:creationId xmlns:a16="http://schemas.microsoft.com/office/drawing/2014/main" id="{08FB55F8-02E2-0248-8F58-EC56520F843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0276"/>
            <a:stretch/>
          </p:blipFill>
          <p:spPr>
            <a:xfrm>
              <a:off x="941087" y="1306843"/>
              <a:ext cx="3173713" cy="282746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724623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ые слайды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1193A411-F524-9E4B-A395-44AB9470A22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61032" y="691861"/>
            <a:ext cx="17692156" cy="1450975"/>
          </a:xfrm>
          <a:prstGeom prst="rect">
            <a:avLst/>
          </a:prstGeom>
        </p:spPr>
        <p:txBody>
          <a:bodyPr/>
          <a:lstStyle>
            <a:lvl1pPr>
              <a:defRPr sz="7200"/>
            </a:lvl1pPr>
          </a:lstStyle>
          <a:p>
            <a:pPr lvl="0"/>
            <a:r>
              <a:rPr lang="ru-RU" dirty="0"/>
              <a:t>Заголовок 72</a:t>
            </a: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9953ACE8-BC14-9944-A3B1-C287C41610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79563" y="12614275"/>
            <a:ext cx="17573625" cy="368300"/>
          </a:xfrm>
          <a:prstGeom prst="rect">
            <a:avLst/>
          </a:prstGeom>
        </p:spPr>
        <p:txBody>
          <a:bodyPr/>
          <a:lstStyle>
            <a:lvl1pPr>
              <a:defRPr lang="ru-RU" sz="2000" kern="1200" baseline="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ru-RU" sz="2000" kern="12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Нижний колонтитул</a:t>
            </a:r>
          </a:p>
        </p:txBody>
      </p:sp>
    </p:spTree>
    <p:extLst>
      <p:ext uri="{BB962C8B-B14F-4D97-AF65-F5344CB8AC3E}">
        <p14:creationId xmlns:p14="http://schemas.microsoft.com/office/powerpoint/2010/main" val="19490423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ые слайды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1193A411-F524-9E4B-A395-44AB9470A22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61032" y="741217"/>
            <a:ext cx="17692156" cy="1450975"/>
          </a:xfrm>
          <a:prstGeom prst="rect">
            <a:avLst/>
          </a:prstGeom>
        </p:spPr>
        <p:txBody>
          <a:bodyPr/>
          <a:lstStyle>
            <a:lvl1pPr>
              <a:defRPr sz="4800"/>
            </a:lvl1pPr>
          </a:lstStyle>
          <a:p>
            <a:pPr lvl="0"/>
            <a:r>
              <a:rPr lang="ru-RU" dirty="0"/>
              <a:t>Заголовок 48</a:t>
            </a:r>
          </a:p>
        </p:txBody>
      </p:sp>
      <p:sp>
        <p:nvSpPr>
          <p:cNvPr id="4" name="Текст 5">
            <a:extLst>
              <a:ext uri="{FF2B5EF4-FFF2-40B4-BE49-F238E27FC236}">
                <a16:creationId xmlns:a16="http://schemas.microsoft.com/office/drawing/2014/main" id="{C6D810DB-B249-E04E-9B3E-C3EB31497A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79563" y="12614275"/>
            <a:ext cx="17573625" cy="368300"/>
          </a:xfrm>
          <a:prstGeom prst="rect">
            <a:avLst/>
          </a:prstGeom>
        </p:spPr>
        <p:txBody>
          <a:bodyPr/>
          <a:lstStyle>
            <a:lvl1pPr>
              <a:defRPr lang="ru-RU" sz="2000" kern="1200" baseline="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ru-RU" sz="2000" kern="1200" baseline="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ru-RU" sz="2000" kern="12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Нижний колонтитул</a:t>
            </a:r>
          </a:p>
        </p:txBody>
      </p:sp>
    </p:spTree>
    <p:extLst>
      <p:ext uri="{BB962C8B-B14F-4D97-AF65-F5344CB8AC3E}">
        <p14:creationId xmlns:p14="http://schemas.microsoft.com/office/powerpoint/2010/main" val="14130042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65777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7" r:id="rId1"/>
    <p:sldLayoutId id="2147483888" r:id="rId2"/>
    <p:sldLayoutId id="2147484008" r:id="rId3"/>
    <p:sldLayoutId id="2147484009" r:id="rId4"/>
    <p:sldLayoutId id="2147484017" r:id="rId5"/>
    <p:sldLayoutId id="2147484010" r:id="rId6"/>
    <p:sldLayoutId id="2147484011" r:id="rId7"/>
    <p:sldLayoutId id="2147484006" r:id="rId8"/>
    <p:sldLayoutId id="2147484003" r:id="rId9"/>
    <p:sldLayoutId id="2147484004" r:id="rId10"/>
    <p:sldLayoutId id="2147484002" r:id="rId11"/>
    <p:sldLayoutId id="2147484005" r:id="rId12"/>
    <p:sldLayoutId id="2147484014" r:id="rId13"/>
    <p:sldLayoutId id="2147484012" r:id="rId14"/>
    <p:sldLayoutId id="2147484013" r:id="rId15"/>
    <p:sldLayoutId id="2147484015" r:id="rId16"/>
    <p:sldLayoutId id="2147484018" r:id="rId17"/>
    <p:sldLayoutId id="2147484019" r:id="rId18"/>
    <p:sldLayoutId id="2147484016" r:id="rId19"/>
    <p:sldLayoutId id="2147484020" r:id="rId20"/>
    <p:sldLayoutId id="2147484021" r:id="rId21"/>
    <p:sldLayoutId id="2147484022" r:id="rId22"/>
    <p:sldLayoutId id="2147484023" r:id="rId23"/>
    <p:sldLayoutId id="2147484024" r:id="rId24"/>
    <p:sldLayoutId id="2147484025" r:id="rId25"/>
    <p:sldLayoutId id="2147484026" r:id="rId26"/>
    <p:sldLayoutId id="2147484027" r:id="rId27"/>
  </p:sldLayoutIdLst>
  <p:hf hdr="0" dt="0"/>
  <p:txStyles>
    <p:titleStyle>
      <a:lvl1pPr marL="0" algn="l" defTabSz="1828619" rtl="0" eaLnBrk="1" latinLnBrk="0" hangingPunct="1">
        <a:lnSpc>
          <a:spcPct val="100000"/>
        </a:lnSpc>
        <a:spcBef>
          <a:spcPct val="0"/>
        </a:spcBef>
        <a:buNone/>
        <a:defRPr sz="7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828619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36" indent="0" algn="l" defTabSz="1907905" rtl="0" eaLnBrk="1" latinLnBrk="0" hangingPunct="1">
        <a:lnSpc>
          <a:spcPct val="100000"/>
        </a:lnSpc>
        <a:spcBef>
          <a:spcPts val="0"/>
        </a:spcBef>
        <a:spcAft>
          <a:spcPts val="1800"/>
        </a:spcAft>
        <a:buClr>
          <a:schemeClr val="bg2"/>
        </a:buClr>
        <a:buSzPct val="120000"/>
        <a:buFontTx/>
        <a:buNone/>
        <a:defRPr sz="3200" b="1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540000" algn="l" defTabSz="1828619" rtl="0" eaLnBrk="1" latinLnBrk="0" hangingPunct="1">
        <a:lnSpc>
          <a:spcPct val="100000"/>
        </a:lnSpc>
        <a:spcBef>
          <a:spcPts val="0"/>
        </a:spcBef>
        <a:spcAft>
          <a:spcPts val="1800"/>
        </a:spcAft>
        <a:buClr>
          <a:schemeClr val="tx2"/>
        </a:buClr>
        <a:buSzPct val="100000"/>
        <a:buFont typeface="System Font Regular"/>
        <a:buChar char="•"/>
        <a:tabLst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540000" algn="l" defTabSz="1828619" rtl="0" eaLnBrk="1" latinLnBrk="0" hangingPunct="1">
        <a:lnSpc>
          <a:spcPct val="100000"/>
        </a:lnSpc>
        <a:spcBef>
          <a:spcPts val="0"/>
        </a:spcBef>
        <a:spcAft>
          <a:spcPts val="1800"/>
        </a:spcAft>
        <a:buFont typeface="+mj-lt"/>
        <a:buAutoNum type="arabicPeriod"/>
        <a:tabLst/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828619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32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5028699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007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315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1623" indent="-457155" algn="l" defTabSz="182861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08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619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927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235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543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852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160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467" algn="l" defTabSz="182861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762">
          <p15:clr>
            <a:srgbClr val="F26B43"/>
          </p15:clr>
        </p15:guide>
        <p15:guide id="2" pos="6531">
          <p15:clr>
            <a:srgbClr val="F26B43"/>
          </p15:clr>
        </p15:guide>
        <p15:guide id="3" pos="6298">
          <p15:clr>
            <a:srgbClr val="F26B43"/>
          </p15:clr>
        </p15:guide>
        <p15:guide id="4" pos="6067">
          <p15:clr>
            <a:srgbClr val="F26B43"/>
          </p15:clr>
        </p15:guide>
        <p15:guide id="5" pos="5834">
          <p15:clr>
            <a:srgbClr val="F26B43"/>
          </p15:clr>
        </p15:guide>
        <p15:guide id="6" pos="5603">
          <p15:clr>
            <a:srgbClr val="F26B43"/>
          </p15:clr>
        </p15:guide>
        <p15:guide id="8" pos="5148">
          <p15:clr>
            <a:srgbClr val="F26B43"/>
          </p15:clr>
        </p15:guide>
        <p15:guide id="9" pos="4913" userDrawn="1">
          <p15:clr>
            <a:srgbClr val="F26B43"/>
          </p15:clr>
        </p15:guide>
        <p15:guide id="10" pos="4682">
          <p15:clr>
            <a:srgbClr val="F26B43"/>
          </p15:clr>
        </p15:guide>
        <p15:guide id="11" pos="4451">
          <p15:clr>
            <a:srgbClr val="F26B43"/>
          </p15:clr>
        </p15:guide>
        <p15:guide id="12" pos="4218">
          <p15:clr>
            <a:srgbClr val="F26B43"/>
          </p15:clr>
        </p15:guide>
        <p15:guide id="13" pos="3763">
          <p15:clr>
            <a:srgbClr val="F26B43"/>
          </p15:clr>
        </p15:guide>
        <p15:guide id="14" pos="3994">
          <p15:clr>
            <a:srgbClr val="F26B43"/>
          </p15:clr>
        </p15:guide>
        <p15:guide id="15" pos="3530">
          <p15:clr>
            <a:srgbClr val="F26B43"/>
          </p15:clr>
        </p15:guide>
        <p15:guide id="16" pos="3299">
          <p15:clr>
            <a:srgbClr val="F26B43"/>
          </p15:clr>
        </p15:guide>
        <p15:guide id="17" pos="2835">
          <p15:clr>
            <a:srgbClr val="F26B43"/>
          </p15:clr>
        </p15:guide>
        <p15:guide id="19" pos="2611">
          <p15:clr>
            <a:srgbClr val="F26B43"/>
          </p15:clr>
        </p15:guide>
        <p15:guide id="20" pos="2378">
          <p15:clr>
            <a:srgbClr val="F26B43"/>
          </p15:clr>
        </p15:guide>
        <p15:guide id="21" pos="2147">
          <p15:clr>
            <a:srgbClr val="F26B43"/>
          </p15:clr>
        </p15:guide>
        <p15:guide id="25" pos="6986">
          <p15:clr>
            <a:srgbClr val="F26B43"/>
          </p15:clr>
        </p15:guide>
        <p15:guide id="27" pos="7219">
          <p15:clr>
            <a:srgbClr val="F26B43"/>
          </p15:clr>
        </p15:guide>
        <p15:guide id="29" pos="7913">
          <p15:clr>
            <a:srgbClr val="F26B43"/>
          </p15:clr>
        </p15:guide>
        <p15:guide id="30" pos="8146">
          <p15:clr>
            <a:srgbClr val="F26B43"/>
          </p15:clr>
        </p15:guide>
        <p15:guide id="31" pos="8372">
          <p15:clr>
            <a:srgbClr val="F26B43"/>
          </p15:clr>
        </p15:guide>
        <p15:guide id="32" pos="8602">
          <p15:clr>
            <a:srgbClr val="F26B43"/>
          </p15:clr>
        </p15:guide>
        <p15:guide id="33" pos="9529">
          <p15:clr>
            <a:srgbClr val="F26B43"/>
          </p15:clr>
        </p15:guide>
        <p15:guide id="34" pos="8834">
          <p15:clr>
            <a:srgbClr val="F26B43"/>
          </p15:clr>
        </p15:guide>
        <p15:guide id="35" pos="9754">
          <p15:clr>
            <a:srgbClr val="F26B43"/>
          </p15:clr>
        </p15:guide>
        <p15:guide id="36" pos="10681">
          <p15:clr>
            <a:srgbClr val="F26B43"/>
          </p15:clr>
        </p15:guide>
        <p15:guide id="38" pos="10218">
          <p15:clr>
            <a:srgbClr val="F26B43"/>
          </p15:clr>
        </p15:guide>
        <p15:guide id="39" pos="12522">
          <p15:clr>
            <a:srgbClr val="F26B43"/>
          </p15:clr>
        </p15:guide>
        <p15:guide id="40" pos="10450">
          <p15:clr>
            <a:srgbClr val="F26B43"/>
          </p15:clr>
        </p15:guide>
        <p15:guide id="41" pos="10909" userDrawn="1">
          <p15:clr>
            <a:srgbClr val="F26B43"/>
          </p15:clr>
        </p15:guide>
        <p15:guide id="42" pos="11138">
          <p15:clr>
            <a:srgbClr val="F26B43"/>
          </p15:clr>
        </p15:guide>
        <p15:guide id="44" pos="11370">
          <p15:clr>
            <a:srgbClr val="F26B43"/>
          </p15:clr>
        </p15:guide>
        <p15:guide id="45" pos="11602">
          <p15:clr>
            <a:srgbClr val="F26B43"/>
          </p15:clr>
        </p15:guide>
        <p15:guide id="47" pos="11833">
          <p15:clr>
            <a:srgbClr val="F26B43"/>
          </p15:clr>
        </p15:guide>
        <p15:guide id="48" orient="horz" pos="4260">
          <p15:clr>
            <a:srgbClr val="F26B43"/>
          </p15:clr>
        </p15:guide>
        <p15:guide id="49" orient="horz" pos="4027">
          <p15:clr>
            <a:srgbClr val="F26B43"/>
          </p15:clr>
        </p15:guide>
        <p15:guide id="50" orient="horz" pos="3796" userDrawn="1">
          <p15:clr>
            <a:srgbClr val="F26B43"/>
          </p15:clr>
        </p15:guide>
        <p15:guide id="51" orient="horz" pos="3107" userDrawn="1">
          <p15:clr>
            <a:srgbClr val="F26B43"/>
          </p15:clr>
        </p15:guide>
        <p15:guide id="52" orient="horz" pos="2875" userDrawn="1">
          <p15:clr>
            <a:srgbClr val="F26B43"/>
          </p15:clr>
        </p15:guide>
        <p15:guide id="53" orient="horz" pos="2641">
          <p15:clr>
            <a:srgbClr val="F26B43"/>
          </p15:clr>
        </p15:guide>
        <p15:guide id="54" orient="horz" pos="2408" userDrawn="1">
          <p15:clr>
            <a:srgbClr val="F26B43"/>
          </p15:clr>
        </p15:guide>
        <p15:guide id="57" orient="horz" pos="1723">
          <p15:clr>
            <a:srgbClr val="F26B43"/>
          </p15:clr>
        </p15:guide>
        <p15:guide id="62" orient="horz" pos="4494">
          <p15:clr>
            <a:srgbClr val="F26B43"/>
          </p15:clr>
        </p15:guide>
        <p15:guide id="63" orient="horz" pos="4722">
          <p15:clr>
            <a:srgbClr val="F26B43"/>
          </p15:clr>
        </p15:guide>
        <p15:guide id="64" orient="horz" pos="5179">
          <p15:clr>
            <a:srgbClr val="F26B43"/>
          </p15:clr>
        </p15:guide>
        <p15:guide id="65" orient="horz" pos="5412">
          <p15:clr>
            <a:srgbClr val="F26B43"/>
          </p15:clr>
        </p15:guide>
        <p15:guide id="66" orient="horz" pos="5635" userDrawn="1">
          <p15:clr>
            <a:srgbClr val="F26B43"/>
          </p15:clr>
        </p15:guide>
        <p15:guide id="67" orient="horz" pos="5874">
          <p15:clr>
            <a:srgbClr val="F26B43"/>
          </p15:clr>
        </p15:guide>
        <p15:guide id="68" orient="horz" pos="6097">
          <p15:clr>
            <a:srgbClr val="F26B43"/>
          </p15:clr>
        </p15:guide>
        <p15:guide id="69" orient="horz" pos="6331">
          <p15:clr>
            <a:srgbClr val="F26B43"/>
          </p15:clr>
        </p15:guide>
        <p15:guide id="70" orient="horz" pos="6564">
          <p15:clr>
            <a:srgbClr val="F26B43"/>
          </p15:clr>
        </p15:guide>
        <p15:guide id="71" orient="horz" pos="6792">
          <p15:clr>
            <a:srgbClr val="F26B43"/>
          </p15:clr>
        </p15:guide>
        <p15:guide id="72" orient="horz" pos="7483">
          <p15:clr>
            <a:srgbClr val="F26B43"/>
          </p15:clr>
        </p15:guide>
        <p15:guide id="73" orient="horz" pos="7254">
          <p15:clr>
            <a:srgbClr val="F26B43"/>
          </p15:clr>
        </p15:guide>
        <p15:guide id="74" orient="horz" pos="7026">
          <p15:clr>
            <a:srgbClr val="F26B43"/>
          </p15:clr>
        </p15:guide>
        <p15:guide id="75" pos="7450">
          <p15:clr>
            <a:srgbClr val="F26B43"/>
          </p15:clr>
        </p15:guide>
        <p15:guide id="76" orient="horz" pos="3559">
          <p15:clr>
            <a:srgbClr val="F26B43"/>
          </p15:clr>
        </p15:guide>
        <p15:guide id="77" orient="horz" pos="3338" userDrawn="1">
          <p15:clr>
            <a:srgbClr val="F26B43"/>
          </p15:clr>
        </p15:guide>
        <p15:guide id="78" orient="horz" pos="4945">
          <p15:clr>
            <a:srgbClr val="F26B43"/>
          </p15:clr>
        </p15:guide>
        <p15:guide id="79" pos="1912" userDrawn="1">
          <p15:clr>
            <a:srgbClr val="F26B43"/>
          </p15:clr>
        </p15:guide>
        <p15:guide id="80" pos="1681" userDrawn="1">
          <p15:clr>
            <a:srgbClr val="F26B43"/>
          </p15:clr>
        </p15:guide>
        <p15:guide id="81" pos="1450">
          <p15:clr>
            <a:srgbClr val="F26B43"/>
          </p15:clr>
        </p15:guide>
        <p15:guide id="87" pos="12065">
          <p15:clr>
            <a:srgbClr val="F26B43"/>
          </p15:clr>
        </p15:guide>
        <p15:guide id="89" pos="12754">
          <p15:clr>
            <a:srgbClr val="F26B43"/>
          </p15:clr>
        </p15:guide>
        <p15:guide id="90" pos="12985">
          <p15:clr>
            <a:srgbClr val="F26B43"/>
          </p15:clr>
        </p15:guide>
        <p15:guide id="92" pos="13217">
          <p15:clr>
            <a:srgbClr val="F26B43"/>
          </p15:clr>
        </p15:guide>
        <p15:guide id="93" orient="horz" pos="793">
          <p15:clr>
            <a:srgbClr val="F26B43"/>
          </p15:clr>
        </p15:guide>
        <p15:guide id="94" pos="13449">
          <p15:clr>
            <a:srgbClr val="F26B43"/>
          </p15:clr>
        </p15:guide>
        <p15:guide id="95" pos="13681">
          <p15:clr>
            <a:srgbClr val="F26B43"/>
          </p15:clr>
        </p15:guide>
        <p15:guide id="96" pos="13906">
          <p15:clr>
            <a:srgbClr val="F26B43"/>
          </p15:clr>
        </p15:guide>
        <p15:guide id="97" pos="14141">
          <p15:clr>
            <a:srgbClr val="F26B43"/>
          </p15:clr>
        </p15:guide>
        <p15:guide id="101" pos="9066">
          <p15:clr>
            <a:srgbClr val="F26B43"/>
          </p15:clr>
        </p15:guide>
        <p15:guide id="102" pos="9298">
          <p15:clr>
            <a:srgbClr val="F26B43"/>
          </p15:clr>
        </p15:guide>
        <p15:guide id="104" orient="horz" pos="1261">
          <p15:clr>
            <a:srgbClr val="F26B43"/>
          </p15:clr>
        </p15:guide>
        <p15:guide id="108" orient="horz" pos="7716">
          <p15:clr>
            <a:srgbClr val="F26B43"/>
          </p15:clr>
        </p15:guide>
        <p15:guide id="109" orient="horz" pos="1027">
          <p15:clr>
            <a:srgbClr val="F26B43"/>
          </p15:clr>
        </p15:guide>
        <p15:guide id="111" orient="horz" pos="1485" userDrawn="1">
          <p15:clr>
            <a:srgbClr val="F26B43"/>
          </p15:clr>
        </p15:guide>
        <p15:guide id="112" pos="1226">
          <p15:clr>
            <a:srgbClr val="F26B43"/>
          </p15:clr>
        </p15:guide>
        <p15:guide id="113" pos="995">
          <p15:clr>
            <a:srgbClr val="F26B43"/>
          </p15:clr>
        </p15:guide>
        <p15:guide id="118" orient="horz" pos="2165" userDrawn="1">
          <p15:clr>
            <a:srgbClr val="F26B43"/>
          </p15:clr>
        </p15:guide>
        <p15:guide id="122" pos="14370">
          <p15:clr>
            <a:srgbClr val="F26B43"/>
          </p15:clr>
        </p15:guide>
        <p15:guide id="123" orient="horz" pos="571">
          <p15:clr>
            <a:srgbClr val="F26B43"/>
          </p15:clr>
        </p15:guide>
        <p15:guide id="124" orient="horz" pos="8178">
          <p15:clr>
            <a:srgbClr val="F26B43"/>
          </p15:clr>
        </p15:guide>
        <p15:guide id="125" orient="horz" pos="7946" userDrawn="1">
          <p15:clr>
            <a:srgbClr val="F26B43"/>
          </p15:clr>
        </p15:guide>
        <p15:guide id="126" orient="horz" pos="195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20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tags" Target="../tags/tag2.xml"/><Relationship Id="rId7" Type="http://schemas.openxmlformats.org/officeDocument/2006/relationships/image" Target="../media/image42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1.xml"/><Relationship Id="rId9" Type="http://schemas.openxmlformats.org/officeDocument/2006/relationships/image" Target="../media/image4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gif"/><Relationship Id="rId2" Type="http://schemas.openxmlformats.org/officeDocument/2006/relationships/hyperlink" Target="https://developers.sber.ru/docs/ru/va/how-to/conversation/hints#&#1082;&#1072;&#1082;-&#1088;&#1072;&#1073;&#1086;&#1090;&#1072;&#1102;&#1090;-&#1093;&#1080;&#1085;&#1090;&#1099;" TargetMode="External"/><Relationship Id="rId1" Type="http://schemas.openxmlformats.org/officeDocument/2006/relationships/slideLayout" Target="../slideLayouts/slideLayout12.xml"/><Relationship Id="rId5" Type="http://schemas.openxmlformats.org/officeDocument/2006/relationships/hyperlink" Target="https://developers.sber.ru/docs/ru/va/how-to/conversation/hints" TargetMode="External"/><Relationship Id="rId4" Type="http://schemas.openxmlformats.org/officeDocument/2006/relationships/image" Target="../media/image46.gi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gif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5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audio" Target="../media/media4.wav"/><Relationship Id="rId13" Type="http://schemas.openxmlformats.org/officeDocument/2006/relationships/slideLayout" Target="../slideLayouts/slideLayout11.xml"/><Relationship Id="rId18" Type="http://schemas.openxmlformats.org/officeDocument/2006/relationships/image" Target="../media/image60.emf"/><Relationship Id="rId3" Type="http://schemas.microsoft.com/office/2007/relationships/media" Target="../media/media2.mp4"/><Relationship Id="rId21" Type="http://schemas.openxmlformats.org/officeDocument/2006/relationships/image" Target="../media/image63.png"/><Relationship Id="rId7" Type="http://schemas.microsoft.com/office/2007/relationships/media" Target="../media/media4.wav"/><Relationship Id="rId12" Type="http://schemas.openxmlformats.org/officeDocument/2006/relationships/audio" Target="../media/media6.wav"/><Relationship Id="rId17" Type="http://schemas.openxmlformats.org/officeDocument/2006/relationships/image" Target="../media/image59.tiff"/><Relationship Id="rId2" Type="http://schemas.openxmlformats.org/officeDocument/2006/relationships/video" Target="../media/media1.mp4"/><Relationship Id="rId16" Type="http://schemas.openxmlformats.org/officeDocument/2006/relationships/image" Target="../media/image58.png"/><Relationship Id="rId20" Type="http://schemas.openxmlformats.org/officeDocument/2006/relationships/image" Target="../media/image62.png"/><Relationship Id="rId1" Type="http://schemas.microsoft.com/office/2007/relationships/media" Target="../media/media1.mp4"/><Relationship Id="rId6" Type="http://schemas.openxmlformats.org/officeDocument/2006/relationships/video" Target="../media/media3.mp4"/><Relationship Id="rId11" Type="http://schemas.microsoft.com/office/2007/relationships/media" Target="../media/media6.wav"/><Relationship Id="rId5" Type="http://schemas.microsoft.com/office/2007/relationships/media" Target="../media/media3.mp4"/><Relationship Id="rId15" Type="http://schemas.openxmlformats.org/officeDocument/2006/relationships/image" Target="../media/image57.png"/><Relationship Id="rId10" Type="http://schemas.openxmlformats.org/officeDocument/2006/relationships/audio" Target="../media/media5.wav"/><Relationship Id="rId19" Type="http://schemas.openxmlformats.org/officeDocument/2006/relationships/image" Target="../media/image61.png"/><Relationship Id="rId4" Type="http://schemas.openxmlformats.org/officeDocument/2006/relationships/video" Target="../media/media2.mp4"/><Relationship Id="rId9" Type="http://schemas.microsoft.com/office/2007/relationships/media" Target="../media/media5.wav"/><Relationship Id="rId14" Type="http://schemas.openxmlformats.org/officeDocument/2006/relationships/image" Target="../media/image56.png"/><Relationship Id="rId22" Type="http://schemas.openxmlformats.org/officeDocument/2006/relationships/image" Target="../media/image6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customXml" Target="../ink/ink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emf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12" Type="http://schemas.openxmlformats.org/officeDocument/2006/relationships/image" Target="../media/image33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27.png"/><Relationship Id="rId11" Type="http://schemas.openxmlformats.org/officeDocument/2006/relationships/image" Target="../media/image32.emf"/><Relationship Id="rId5" Type="http://schemas.openxmlformats.org/officeDocument/2006/relationships/image" Target="../media/image26.png"/><Relationship Id="rId10" Type="http://schemas.openxmlformats.org/officeDocument/2006/relationships/image" Target="../media/image31.emf"/><Relationship Id="rId4" Type="http://schemas.openxmlformats.org/officeDocument/2006/relationships/image" Target="../media/image25.png"/><Relationship Id="rId9" Type="http://schemas.openxmlformats.org/officeDocument/2006/relationships/image" Target="../media/image30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4.png"/><Relationship Id="rId7" Type="http://schemas.openxmlformats.org/officeDocument/2006/relationships/image" Target="../media/image31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36.emf"/><Relationship Id="rId5" Type="http://schemas.openxmlformats.org/officeDocument/2006/relationships/image" Target="../media/image33.emf"/><Relationship Id="rId4" Type="http://schemas.openxmlformats.org/officeDocument/2006/relationships/image" Target="../media/image3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3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5.xml"/><Relationship Id="rId4" Type="http://schemas.openxmlformats.org/officeDocument/2006/relationships/hyperlink" Target="https://developers.sber.ru/portal/solutions/jazz-by-sber" TargetMode="Externa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gi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1.png"/><Relationship Id="rId4" Type="http://schemas.openxmlformats.org/officeDocument/2006/relationships/hyperlink" Target="https://developers.sber.ru/portal/products/smartbot-chat-bot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 descr="Изображение выглядит как автомат&#10;&#10;Автоматически созданное описание">
            <a:extLst>
              <a:ext uri="{FF2B5EF4-FFF2-40B4-BE49-F238E27FC236}">
                <a16:creationId xmlns:a16="http://schemas.microsoft.com/office/drawing/2014/main" id="{714CC45A-4E45-1843-83B1-46E1457041E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1"/>
            <a:ext cx="24382413" cy="13715107"/>
          </a:xfrm>
          <a:prstGeom prst="rect">
            <a:avLst/>
          </a:prstGeom>
        </p:spPr>
      </p:pic>
      <p:sp>
        <p:nvSpPr>
          <p:cNvPr id="4" name="Текст 1">
            <a:extLst>
              <a:ext uri="{FF2B5EF4-FFF2-40B4-BE49-F238E27FC236}">
                <a16:creationId xmlns:a16="http://schemas.microsoft.com/office/drawing/2014/main" id="{1E2765F1-20C4-DA46-8A81-023A6531E8E4}"/>
              </a:ext>
            </a:extLst>
          </p:cNvPr>
          <p:cNvSpPr txBox="1">
            <a:spLocks/>
          </p:cNvSpPr>
          <p:nvPr/>
        </p:nvSpPr>
        <p:spPr>
          <a:xfrm>
            <a:off x="974187" y="1192348"/>
            <a:ext cx="10724216" cy="273594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ts val="4800"/>
              </a:lnSpc>
              <a:spcBef>
                <a:spcPts val="1000"/>
              </a:spcBef>
              <a:buFont typeface="Arial" panose="020B0604020202020204" pitchFamily="34" charset="0"/>
              <a:buNone/>
              <a:defRPr sz="4800" b="0" i="0" kern="1200">
                <a:solidFill>
                  <a:schemeClr val="bg1"/>
                </a:solidFill>
                <a:latin typeface="+mn-lt"/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828709">
              <a:lnSpc>
                <a:spcPts val="9600"/>
              </a:lnSpc>
              <a:spcBef>
                <a:spcPts val="2000"/>
              </a:spcBef>
              <a:defRPr/>
            </a:pPr>
            <a:r>
              <a:rPr lang="en-US" sz="11999" dirty="0">
                <a:gradFill flip="none" rotWithShape="1">
                  <a:gsLst>
                    <a:gs pos="0">
                      <a:srgbClr val="00D756"/>
                    </a:gs>
                    <a:gs pos="99000">
                      <a:srgbClr val="27C6E5"/>
                    </a:gs>
                  </a:gsLst>
                  <a:lin ang="10800000" scaled="1"/>
                  <a:tileRect/>
                </a:gradFill>
                <a:ea typeface="+mn-ea"/>
                <a:cs typeface="+mn-cs"/>
              </a:rPr>
              <a:t>SberDevices</a:t>
            </a:r>
            <a:br>
              <a:rPr lang="ru-RU" sz="9600" dirty="0">
                <a:solidFill>
                  <a:srgbClr val="FEFFFE"/>
                </a:solidFill>
                <a:latin typeface="Arial" panose="020B0604020202020204"/>
              </a:rPr>
            </a:br>
            <a:endParaRPr lang="ru-RU" sz="9600" dirty="0">
              <a:solidFill>
                <a:srgbClr val="00E397"/>
              </a:solidFill>
              <a:latin typeface="Arial" panose="020B0604020202020204"/>
            </a:endParaRPr>
          </a:p>
        </p:txBody>
      </p:sp>
      <p:pic>
        <p:nvPicPr>
          <p:cNvPr id="5" name="Рисунок 6">
            <a:extLst>
              <a:ext uri="{FF2B5EF4-FFF2-40B4-BE49-F238E27FC236}">
                <a16:creationId xmlns:a16="http://schemas.microsoft.com/office/drawing/2014/main" id="{89EAE5D7-2028-D749-B9B9-46DEB07A5938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76655" y="9065624"/>
            <a:ext cx="1056063" cy="3989572"/>
          </a:xfrm>
          <a:prstGeom prst="rect">
            <a:avLst/>
          </a:prstGeom>
        </p:spPr>
      </p:pic>
      <p:sp>
        <p:nvSpPr>
          <p:cNvPr id="6" name="Прямоугольник 4">
            <a:extLst>
              <a:ext uri="{FF2B5EF4-FFF2-40B4-BE49-F238E27FC236}">
                <a16:creationId xmlns:a16="http://schemas.microsoft.com/office/drawing/2014/main" id="{AB0AB6A5-FDE9-8D46-B81B-B08C4C2DBFB5}"/>
              </a:ext>
            </a:extLst>
          </p:cNvPr>
          <p:cNvSpPr/>
          <p:nvPr/>
        </p:nvSpPr>
        <p:spPr>
          <a:xfrm>
            <a:off x="974186" y="2560318"/>
            <a:ext cx="14783974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828709">
              <a:defRPr/>
            </a:pPr>
            <a:r>
              <a:rPr lang="ru-RU" sz="7200" kern="0" dirty="0">
                <a:solidFill>
                  <a:schemeClr val="bg1"/>
                </a:solidFill>
              </a:rPr>
              <a:t>ИТ-решения, которые ждет бизнес и госсектор в 2023 году</a:t>
            </a:r>
          </a:p>
        </p:txBody>
      </p:sp>
    </p:spTree>
    <p:extLst>
      <p:ext uri="{BB962C8B-B14F-4D97-AF65-F5344CB8AC3E}">
        <p14:creationId xmlns:p14="http://schemas.microsoft.com/office/powerpoint/2010/main" val="2524937345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Овал 17">
            <a:extLst>
              <a:ext uri="{FF2B5EF4-FFF2-40B4-BE49-F238E27FC236}">
                <a16:creationId xmlns:a16="http://schemas.microsoft.com/office/drawing/2014/main" id="{3C4E3F93-436C-CF40-AEC6-60C97994016F}"/>
              </a:ext>
            </a:extLst>
          </p:cNvPr>
          <p:cNvSpPr/>
          <p:nvPr/>
        </p:nvSpPr>
        <p:spPr>
          <a:xfrm>
            <a:off x="10634971" y="4247682"/>
            <a:ext cx="2946212" cy="294621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20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92482275-D5D0-3B4A-B9CC-D5AF93BABC8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>
                <a:gradFill flip="none" rotWithShape="1">
                  <a:gsLst>
                    <a:gs pos="0">
                      <a:srgbClr val="00D756"/>
                    </a:gs>
                    <a:gs pos="99000">
                      <a:srgbClr val="27C6E5"/>
                    </a:gs>
                  </a:gsLst>
                  <a:lin ang="10800000" scaled="1"/>
                  <a:tileRect/>
                </a:gradFill>
              </a:rPr>
              <a:t>Чем бот полезен вашей компании?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4476840-CDC2-4643-BDE9-C05576C8E3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pPr/>
              <a:t>10</a:t>
            </a:fld>
            <a:endParaRPr lang="ru-RU" dirty="0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2D20CFDC-2CCC-CF4B-A3D2-8F6B083E080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660" r="27492"/>
          <a:stretch/>
        </p:blipFill>
        <p:spPr bwMode="auto">
          <a:xfrm>
            <a:off x="10718100" y="4521412"/>
            <a:ext cx="2946212" cy="32849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Дуга 7">
            <a:extLst>
              <a:ext uri="{FF2B5EF4-FFF2-40B4-BE49-F238E27FC236}">
                <a16:creationId xmlns:a16="http://schemas.microsoft.com/office/drawing/2014/main" id="{84F7BACB-2DBF-AF44-96FE-98B85D466296}"/>
              </a:ext>
            </a:extLst>
          </p:cNvPr>
          <p:cNvSpPr/>
          <p:nvPr/>
        </p:nvSpPr>
        <p:spPr>
          <a:xfrm>
            <a:off x="9448181" y="3114830"/>
            <a:ext cx="5486047" cy="5486047"/>
          </a:xfrm>
          <a:prstGeom prst="arc">
            <a:avLst>
              <a:gd name="adj1" fmla="val 16675082"/>
              <a:gd name="adj2" fmla="val 443162"/>
            </a:avLst>
          </a:prstGeom>
          <a:ln w="508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7200"/>
          </a:p>
        </p:txBody>
      </p:sp>
      <p:sp>
        <p:nvSpPr>
          <p:cNvPr id="9" name="Дуга 8">
            <a:extLst>
              <a:ext uri="{FF2B5EF4-FFF2-40B4-BE49-F238E27FC236}">
                <a16:creationId xmlns:a16="http://schemas.microsoft.com/office/drawing/2014/main" id="{34F4C917-D133-9242-A37D-4EA66176EB58}"/>
              </a:ext>
            </a:extLst>
          </p:cNvPr>
          <p:cNvSpPr/>
          <p:nvPr/>
        </p:nvSpPr>
        <p:spPr>
          <a:xfrm>
            <a:off x="9448181" y="3114830"/>
            <a:ext cx="5486047" cy="5486047"/>
          </a:xfrm>
          <a:prstGeom prst="arc">
            <a:avLst>
              <a:gd name="adj1" fmla="val 1465397"/>
              <a:gd name="adj2" fmla="val 9127089"/>
            </a:avLst>
          </a:prstGeom>
          <a:ln w="508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7200"/>
          </a:p>
        </p:txBody>
      </p:sp>
      <p:sp>
        <p:nvSpPr>
          <p:cNvPr id="10" name="Дуга 9">
            <a:extLst>
              <a:ext uri="{FF2B5EF4-FFF2-40B4-BE49-F238E27FC236}">
                <a16:creationId xmlns:a16="http://schemas.microsoft.com/office/drawing/2014/main" id="{367CCE0A-D23C-7949-BF27-55D596600F52}"/>
              </a:ext>
            </a:extLst>
          </p:cNvPr>
          <p:cNvSpPr/>
          <p:nvPr/>
        </p:nvSpPr>
        <p:spPr>
          <a:xfrm>
            <a:off x="9448181" y="3114830"/>
            <a:ext cx="5486047" cy="5486047"/>
          </a:xfrm>
          <a:prstGeom prst="arc">
            <a:avLst>
              <a:gd name="adj1" fmla="val 9886478"/>
              <a:gd name="adj2" fmla="val 15733111"/>
            </a:avLst>
          </a:prstGeom>
          <a:ln w="50800">
            <a:solidFill>
              <a:srgbClr val="23C8D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7200"/>
          </a:p>
        </p:txBody>
      </p:sp>
      <p:sp>
        <p:nvSpPr>
          <p:cNvPr id="11" name="iS1iḍê">
            <a:extLst>
              <a:ext uri="{FF2B5EF4-FFF2-40B4-BE49-F238E27FC236}">
                <a16:creationId xmlns:a16="http://schemas.microsoft.com/office/drawing/2014/main" id="{C6A24C33-7B83-5544-9432-2117487C4F4D}"/>
              </a:ext>
            </a:extLst>
          </p:cNvPr>
          <p:cNvSpPr txBox="1"/>
          <p:nvPr/>
        </p:nvSpPr>
        <p:spPr bwMode="auto">
          <a:xfrm>
            <a:off x="1527105" y="3114831"/>
            <a:ext cx="7317282" cy="588960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896" tIns="60948" rIns="121896" bIns="60948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ru-RU" altLang="zh-CN" sz="3600" b="1" dirty="0">
                <a:solidFill>
                  <a:srgbClr val="23C8D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величит продажи</a:t>
            </a:r>
            <a:endParaRPr lang="en-US" altLang="zh-CN" sz="3600" b="1" dirty="0">
              <a:solidFill>
                <a:srgbClr val="23C8D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8C2D8A6-B8DE-AA42-A749-BE0323562812}"/>
              </a:ext>
            </a:extLst>
          </p:cNvPr>
          <p:cNvSpPr txBox="1"/>
          <p:nvPr/>
        </p:nvSpPr>
        <p:spPr>
          <a:xfrm>
            <a:off x="878706" y="4296220"/>
            <a:ext cx="6994781" cy="50783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71471" indent="-571471">
              <a:spcAft>
                <a:spcPts val="1200"/>
              </a:spcAft>
              <a:buFont typeface="Системный шрифт, обычный"/>
              <a:buChar char="—"/>
            </a:pPr>
            <a:r>
              <a:rPr lang="ru-RU" sz="2400" dirty="0">
                <a:solidFill>
                  <a:srgbClr val="FFFFFF"/>
                </a:solidFill>
              </a:rPr>
              <a:t>Повысит  конверсию обращение </a:t>
            </a:r>
            <a:r>
              <a:rPr lang="en-US" sz="2400" dirty="0">
                <a:solidFill>
                  <a:srgbClr val="FFFFFF"/>
                </a:solidFill>
              </a:rPr>
              <a:t>-&gt; </a:t>
            </a:r>
            <a:r>
              <a:rPr lang="ru-RU" sz="2400" dirty="0">
                <a:solidFill>
                  <a:srgbClr val="FFFFFF"/>
                </a:solidFill>
              </a:rPr>
              <a:t>продажа в среднем на 10</a:t>
            </a:r>
            <a:r>
              <a:rPr lang="en-US" sz="2400" dirty="0">
                <a:solidFill>
                  <a:srgbClr val="FFFFFF"/>
                </a:solidFill>
              </a:rPr>
              <a:t>%</a:t>
            </a:r>
            <a:endParaRPr lang="ru-RU" sz="2400" dirty="0">
              <a:solidFill>
                <a:srgbClr val="FFFFFF"/>
              </a:solidFill>
            </a:endParaRPr>
          </a:p>
          <a:p>
            <a:pPr marL="571471" indent="-571471">
              <a:spcAft>
                <a:spcPts val="1200"/>
              </a:spcAft>
              <a:buFont typeface="Системный шрифт, обычный"/>
              <a:buChar char="—"/>
            </a:pPr>
            <a:r>
              <a:rPr lang="ru-RU" sz="2400" dirty="0">
                <a:solidFill>
                  <a:srgbClr val="FFFFFF"/>
                </a:solidFill>
              </a:rPr>
              <a:t>Напомнит действующим клиентам о себе: новые акции и предложения</a:t>
            </a:r>
          </a:p>
          <a:p>
            <a:pPr marL="571471" indent="-571471">
              <a:spcAft>
                <a:spcPts val="1200"/>
              </a:spcAft>
              <a:buFont typeface="Системный шрифт, обычный"/>
              <a:buChar char="—"/>
            </a:pPr>
            <a:r>
              <a:rPr lang="ru-RU" sz="2400" dirty="0">
                <a:solidFill>
                  <a:srgbClr val="FFFFFF"/>
                </a:solidFill>
              </a:rPr>
              <a:t>Сделает кросс предложение клиентам с  учетом совершенных покупок</a:t>
            </a:r>
          </a:p>
          <a:p>
            <a:pPr marL="571471" indent="-571471">
              <a:spcAft>
                <a:spcPts val="1200"/>
              </a:spcAft>
              <a:buFont typeface="Системный шрифт, обычный"/>
              <a:buChar char="—"/>
            </a:pPr>
            <a:r>
              <a:rPr lang="ru-RU" sz="2400" dirty="0">
                <a:solidFill>
                  <a:srgbClr val="FFFFFF"/>
                </a:solidFill>
              </a:rPr>
              <a:t>Реализует рекламных кампании</a:t>
            </a:r>
          </a:p>
          <a:p>
            <a:pPr marL="571471" indent="-571471">
              <a:spcAft>
                <a:spcPts val="1200"/>
              </a:spcAft>
              <a:buFont typeface="Системный шрифт, обычный"/>
              <a:buChar char="—"/>
            </a:pPr>
            <a:r>
              <a:rPr lang="ru-RU" sz="2400" dirty="0">
                <a:solidFill>
                  <a:srgbClr val="FFFFFF"/>
                </a:solidFill>
              </a:rPr>
              <a:t>Сегментирует и классифицирует </a:t>
            </a:r>
            <a:r>
              <a:rPr lang="ru-RU" sz="2400" dirty="0" err="1">
                <a:solidFill>
                  <a:srgbClr val="FFFFFF"/>
                </a:solidFill>
              </a:rPr>
              <a:t>лиды</a:t>
            </a:r>
            <a:endParaRPr lang="ru-RU" sz="2400" dirty="0">
              <a:solidFill>
                <a:srgbClr val="FFFFFF"/>
              </a:solidFill>
            </a:endParaRPr>
          </a:p>
          <a:p>
            <a:pPr marL="571471" indent="-571471">
              <a:spcAft>
                <a:spcPts val="1200"/>
              </a:spcAft>
              <a:buFont typeface="Системный шрифт, обычный"/>
              <a:buChar char="—"/>
            </a:pPr>
            <a:r>
              <a:rPr lang="ru-RU" sz="2400" dirty="0">
                <a:solidFill>
                  <a:srgbClr val="FFFFFF"/>
                </a:solidFill>
              </a:rPr>
              <a:t>Увеличит вовлеченность: опросы и развлечение</a:t>
            </a:r>
          </a:p>
          <a:p>
            <a:pPr>
              <a:spcAft>
                <a:spcPts val="1200"/>
              </a:spcAft>
            </a:pPr>
            <a:endParaRPr lang="ru-RU" sz="2400" dirty="0">
              <a:solidFill>
                <a:srgbClr val="FFFFFF"/>
              </a:solidFill>
            </a:endParaRPr>
          </a:p>
        </p:txBody>
      </p:sp>
      <p:sp>
        <p:nvSpPr>
          <p:cNvPr id="13" name="iS1iḍê">
            <a:extLst>
              <a:ext uri="{FF2B5EF4-FFF2-40B4-BE49-F238E27FC236}">
                <a16:creationId xmlns:a16="http://schemas.microsoft.com/office/drawing/2014/main" id="{D1F07B39-6A1A-0146-A750-392D7B766840}"/>
              </a:ext>
            </a:extLst>
          </p:cNvPr>
          <p:cNvSpPr txBox="1"/>
          <p:nvPr/>
        </p:nvSpPr>
        <p:spPr bwMode="auto">
          <a:xfrm>
            <a:off x="16695540" y="3114831"/>
            <a:ext cx="6668880" cy="588960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896" tIns="60948" rIns="121896" bIns="60948" anchor="ctr">
            <a:noAutofit/>
          </a:bodyPr>
          <a:lstStyle>
            <a:lvl1pPr defTabSz="914377">
              <a:lnSpc>
                <a:spcPct val="100000"/>
              </a:lnSpc>
              <a:defRPr sz="4000">
                <a:gradFill flip="none" rotWithShape="1">
                  <a:gsLst>
                    <a:gs pos="0">
                      <a:srgbClr val="00D756"/>
                    </a:gs>
                    <a:gs pos="99000">
                      <a:srgbClr val="27C6E5"/>
                    </a:gs>
                  </a:gsLst>
                  <a:lin ang="10800000" scaled="1"/>
                  <a:tileRect/>
                </a:gradFill>
              </a:defRPr>
            </a:lvl1pPr>
            <a:lvl2pPr marL="457189" defTabSz="914377"/>
            <a:lvl3pPr marL="914377" defTabSz="914377"/>
            <a:lvl4pPr marL="1371566" defTabSz="914377"/>
            <a:lvl5pPr marL="1828754" defTabSz="914377"/>
            <a:lvl6pPr marL="2285943" defTabSz="914377"/>
            <a:lvl7pPr marL="2743131" defTabSz="914377"/>
            <a:lvl8pPr marL="3200320" defTabSz="914377"/>
            <a:lvl9pPr marL="3657509" defTabSz="914377"/>
          </a:lstStyle>
          <a:p>
            <a:r>
              <a:rPr lang="ru-RU" altLang="zh-CN" sz="36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ысит лояльность клиентов</a:t>
            </a:r>
            <a:endParaRPr lang="en-US" altLang="zh-CN" sz="3600" b="1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CA03588-617D-644B-907C-B334139E65A8}"/>
              </a:ext>
            </a:extLst>
          </p:cNvPr>
          <p:cNvSpPr txBox="1"/>
          <p:nvPr/>
        </p:nvSpPr>
        <p:spPr>
          <a:xfrm>
            <a:off x="16154493" y="4296220"/>
            <a:ext cx="6936058" cy="35086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71471" indent="-571471">
              <a:spcAft>
                <a:spcPts val="1200"/>
              </a:spcAft>
              <a:buFont typeface="Системный шрифт, обычный"/>
              <a:buChar char="—"/>
            </a:pPr>
            <a:r>
              <a:rPr lang="ru-RU" sz="2400" dirty="0">
                <a:solidFill>
                  <a:srgbClr val="FFFFFF"/>
                </a:solidFill>
              </a:rPr>
              <a:t>Повысит скорость обслуживания и найдет релевантный ответ за 2-3 секунды.</a:t>
            </a:r>
          </a:p>
          <a:p>
            <a:pPr marL="571471" indent="-571471">
              <a:spcAft>
                <a:spcPts val="1200"/>
              </a:spcAft>
              <a:buFont typeface="Системный шрифт, обычный"/>
              <a:buChar char="—"/>
            </a:pPr>
            <a:r>
              <a:rPr lang="ru-RU" sz="2400" dirty="0">
                <a:solidFill>
                  <a:srgbClr val="FFFFFF"/>
                </a:solidFill>
              </a:rPr>
              <a:t>Получит обратную связь от клиента, в т.ч. через опрос после завершения заказа</a:t>
            </a:r>
          </a:p>
          <a:p>
            <a:pPr marL="571471" indent="-571471">
              <a:spcAft>
                <a:spcPts val="1200"/>
              </a:spcAft>
              <a:buFont typeface="Системный шрифт, обычный"/>
              <a:buChar char="—"/>
            </a:pPr>
            <a:r>
              <a:rPr lang="ru-RU" sz="2400" dirty="0">
                <a:solidFill>
                  <a:srgbClr val="FFFFFF"/>
                </a:solidFill>
              </a:rPr>
              <a:t>Не оставит пропущенных диалогов</a:t>
            </a:r>
          </a:p>
          <a:p>
            <a:pPr marL="571471" indent="-571471">
              <a:spcAft>
                <a:spcPts val="1200"/>
              </a:spcAft>
              <a:buFont typeface="Системный шрифт, обычный"/>
              <a:buChar char="—"/>
            </a:pPr>
            <a:r>
              <a:rPr lang="ru-RU" sz="2400" dirty="0">
                <a:solidFill>
                  <a:srgbClr val="FFFFFF"/>
                </a:solidFill>
              </a:rPr>
              <a:t>Высвободит время сотрудников на сложные кейсы с клиентами за счет автоматизации стандартных сценариев</a:t>
            </a:r>
          </a:p>
        </p:txBody>
      </p:sp>
      <p:sp>
        <p:nvSpPr>
          <p:cNvPr id="15" name="iS1iḍê">
            <a:extLst>
              <a:ext uri="{FF2B5EF4-FFF2-40B4-BE49-F238E27FC236}">
                <a16:creationId xmlns:a16="http://schemas.microsoft.com/office/drawing/2014/main" id="{B11154F4-0A60-704B-B2C5-E66621952760}"/>
              </a:ext>
            </a:extLst>
          </p:cNvPr>
          <p:cNvSpPr txBox="1"/>
          <p:nvPr/>
        </p:nvSpPr>
        <p:spPr bwMode="auto">
          <a:xfrm>
            <a:off x="7002927" y="9164279"/>
            <a:ext cx="10376554" cy="588960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896" tIns="60948" rIns="121896" bIns="60948" anchor="ctr">
            <a:noAutofit/>
          </a:bodyPr>
          <a:lstStyle>
            <a:lvl1pPr defTabSz="914377">
              <a:lnSpc>
                <a:spcPct val="100000"/>
              </a:lnSpc>
              <a:defRPr sz="4000">
                <a:gradFill flip="none" rotWithShape="1">
                  <a:gsLst>
                    <a:gs pos="0">
                      <a:srgbClr val="00D756"/>
                    </a:gs>
                    <a:gs pos="99000">
                      <a:srgbClr val="27C6E5"/>
                    </a:gs>
                  </a:gsLst>
                  <a:lin ang="10800000" scaled="1"/>
                  <a:tileRect/>
                </a:gradFill>
              </a:defRPr>
            </a:lvl1pPr>
            <a:lvl2pPr marL="457189" defTabSz="914377"/>
            <a:lvl3pPr marL="914377" defTabSz="914377"/>
            <a:lvl4pPr marL="1371566" defTabSz="914377"/>
            <a:lvl5pPr marL="1828754" defTabSz="914377"/>
            <a:lvl6pPr marL="2285943" defTabSz="914377"/>
            <a:lvl7pPr marL="2743131" defTabSz="914377"/>
            <a:lvl8pPr marL="3200320" defTabSz="914377"/>
            <a:lvl9pPr marL="3657509" defTabSz="914377"/>
          </a:lstStyle>
          <a:p>
            <a:pPr algn="ctr"/>
            <a:r>
              <a:rPr lang="ru-RU" altLang="zh-CN" sz="36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тимизирует процессы </a:t>
            </a:r>
            <a:endParaRPr lang="en-US" altLang="zh-CN" sz="36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276F6D2-701A-F540-8815-975E83385481}"/>
              </a:ext>
            </a:extLst>
          </p:cNvPr>
          <p:cNvSpPr txBox="1"/>
          <p:nvPr/>
        </p:nvSpPr>
        <p:spPr>
          <a:xfrm>
            <a:off x="3483381" y="9853622"/>
            <a:ext cx="8707821" cy="32624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71471" indent="-571471">
              <a:spcAft>
                <a:spcPts val="1200"/>
              </a:spcAft>
              <a:buFont typeface="Системный шрифт, обычный"/>
              <a:buChar char="—"/>
            </a:pPr>
            <a:r>
              <a:rPr lang="ru-RU" sz="2400" dirty="0">
                <a:solidFill>
                  <a:srgbClr val="FFFFFF"/>
                </a:solidFill>
              </a:rPr>
              <a:t>Обработает до </a:t>
            </a:r>
            <a:r>
              <a:rPr lang="ru-RU" sz="3200" dirty="0">
                <a:solidFill>
                  <a:schemeClr val="accent1"/>
                </a:solidFill>
              </a:rPr>
              <a:t>70% </a:t>
            </a:r>
            <a:r>
              <a:rPr lang="ru-RU" sz="2400" dirty="0">
                <a:solidFill>
                  <a:srgbClr val="FFFFFF"/>
                </a:solidFill>
              </a:rPr>
              <a:t>обращений </a:t>
            </a:r>
          </a:p>
          <a:p>
            <a:pPr marL="571471" indent="-571471">
              <a:spcAft>
                <a:spcPts val="1200"/>
              </a:spcAft>
              <a:buFont typeface="Системный шрифт, обычный"/>
              <a:buChar char="—"/>
            </a:pPr>
            <a:r>
              <a:rPr lang="ru-RU" sz="2400" dirty="0">
                <a:solidFill>
                  <a:srgbClr val="FFFFFF"/>
                </a:solidFill>
              </a:rPr>
              <a:t>Работает </a:t>
            </a:r>
            <a:r>
              <a:rPr lang="en-US" sz="3200" dirty="0">
                <a:solidFill>
                  <a:schemeClr val="accent1"/>
                </a:solidFill>
              </a:rPr>
              <a:t>24/7 </a:t>
            </a:r>
            <a:r>
              <a:rPr lang="ru-RU" sz="2400" dirty="0">
                <a:solidFill>
                  <a:srgbClr val="FFFFFF"/>
                </a:solidFill>
              </a:rPr>
              <a:t>и в пиковые нагрузки без </a:t>
            </a:r>
            <a:r>
              <a:rPr lang="ru-RU" sz="2400" dirty="0" err="1">
                <a:solidFill>
                  <a:srgbClr val="FFFFFF"/>
                </a:solidFill>
              </a:rPr>
              <a:t>доп</a:t>
            </a:r>
            <a:r>
              <a:rPr lang="ru-RU" sz="2400" dirty="0">
                <a:solidFill>
                  <a:srgbClr val="FFFFFF"/>
                </a:solidFill>
              </a:rPr>
              <a:t> затрат</a:t>
            </a:r>
          </a:p>
          <a:p>
            <a:pPr marL="571471" indent="-571471">
              <a:spcAft>
                <a:spcPts val="1200"/>
              </a:spcAft>
              <a:buFont typeface="Системный шрифт, обычный"/>
              <a:buChar char="—"/>
            </a:pPr>
            <a:r>
              <a:rPr lang="ru-RU" sz="2400" dirty="0">
                <a:solidFill>
                  <a:srgbClr val="FFFFFF"/>
                </a:solidFill>
              </a:rPr>
              <a:t>На </a:t>
            </a:r>
            <a:r>
              <a:rPr lang="ru-RU" sz="3200" dirty="0">
                <a:solidFill>
                  <a:schemeClr val="accent1"/>
                </a:solidFill>
              </a:rPr>
              <a:t>20</a:t>
            </a:r>
            <a:r>
              <a:rPr lang="en-US" sz="3200" dirty="0">
                <a:solidFill>
                  <a:schemeClr val="accent1"/>
                </a:solidFill>
              </a:rPr>
              <a:t>%</a:t>
            </a:r>
            <a:r>
              <a:rPr lang="en-US" sz="2400" dirty="0">
                <a:solidFill>
                  <a:srgbClr val="FFFFFF"/>
                </a:solidFill>
              </a:rPr>
              <a:t> </a:t>
            </a:r>
            <a:r>
              <a:rPr lang="ru-RU" sz="2400" dirty="0">
                <a:solidFill>
                  <a:srgbClr val="FFFFFF"/>
                </a:solidFill>
              </a:rPr>
              <a:t>снизит нагрузку на операторов за счет автоматизации ручных операций,  уточнений запроса клиента</a:t>
            </a:r>
          </a:p>
          <a:p>
            <a:pPr marL="381001" indent="-381001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ru-RU" sz="3200" dirty="0">
              <a:solidFill>
                <a:srgbClr val="FFFFFF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780F6E3-E441-954F-9F08-59279BCCD4CF}"/>
              </a:ext>
            </a:extLst>
          </p:cNvPr>
          <p:cNvSpPr txBox="1"/>
          <p:nvPr/>
        </p:nvSpPr>
        <p:spPr>
          <a:xfrm>
            <a:off x="13294880" y="9853622"/>
            <a:ext cx="8707821" cy="25237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71471" indent="-571471">
              <a:spcAft>
                <a:spcPts val="1200"/>
              </a:spcAft>
              <a:buFont typeface="Системный шрифт, обычный"/>
              <a:buChar char="—"/>
            </a:pPr>
            <a:r>
              <a:rPr lang="ru-RU" sz="2400" dirty="0">
                <a:solidFill>
                  <a:srgbClr val="FFFFFF"/>
                </a:solidFill>
              </a:rPr>
              <a:t>Снизит количество  претензий за счет дисциплины работы по скрипту и своевременности ответов</a:t>
            </a:r>
          </a:p>
          <a:p>
            <a:pPr marL="571471" indent="-571471">
              <a:spcAft>
                <a:spcPts val="1200"/>
              </a:spcAft>
              <a:buFont typeface="Системный шрифт, обычный"/>
              <a:buChar char="—"/>
            </a:pPr>
            <a:r>
              <a:rPr lang="ru-RU" sz="2400" dirty="0">
                <a:solidFill>
                  <a:srgbClr val="FFFFFF"/>
                </a:solidFill>
              </a:rPr>
              <a:t>Даст экономию на содержание операторов</a:t>
            </a:r>
          </a:p>
          <a:p>
            <a:pPr marL="571471" indent="-571471">
              <a:spcAft>
                <a:spcPts val="1200"/>
              </a:spcAft>
              <a:buFont typeface="Системный шрифт, обычный"/>
              <a:buChar char="—"/>
            </a:pPr>
            <a:r>
              <a:rPr lang="ru-RU" sz="2400" dirty="0">
                <a:solidFill>
                  <a:srgbClr val="FFFFFF"/>
                </a:solidFill>
              </a:rPr>
              <a:t>Решит вопрос  нехватки и оптимизации персонала</a:t>
            </a:r>
          </a:p>
          <a:p>
            <a:pPr marL="381001" indent="-381001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ru-RU" sz="3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2343861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Объект 3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485473" y="1962019"/>
          <a:ext cx="2268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Слайд think-cell" r:id="rId6" imgW="395" imgH="396" progId="TCLayout.ActiveDocument.1">
                  <p:embed/>
                </p:oleObj>
              </mc:Choice>
              <mc:Fallback>
                <p:oleObj name="Слайд think-cell" r:id="rId6" imgW="395" imgH="396" progId="TCLayout.ActiveDocument.1">
                  <p:embed/>
                  <p:pic>
                    <p:nvPicPr>
                      <p:cNvPr id="33" name="Объект 3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485473" y="1962019"/>
                        <a:ext cx="2268" cy="226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>
          <a:xfrm>
            <a:off x="3483204" y="1959750"/>
            <a:ext cx="226771" cy="226771"/>
          </a:xfrm>
          <a:prstGeom prst="rect">
            <a:avLst/>
          </a:prstGeom>
          <a:solidFill>
            <a:schemeClr val="accent1"/>
          </a:solidFill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1306313">
              <a:defRPr/>
            </a:pPr>
            <a:endParaRPr lang="en-US" sz="3428" dirty="0">
              <a:solidFill>
                <a:srgbClr val="FFFFFF"/>
              </a:solidFill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2" name="Номер слайда 2">
            <a:extLst>
              <a:ext uri="{FF2B5EF4-FFF2-40B4-BE49-F238E27FC236}">
                <a16:creationId xmlns:a16="http://schemas.microsoft.com/office/drawing/2014/main" id="{79FBB70F-C63D-A144-8A5B-B2022D8DC1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5138930" y="11885750"/>
            <a:ext cx="294075" cy="492410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rgbClr val="C2C2C6"/>
                </a:solidFill>
              </a:defRPr>
            </a:lvl1pPr>
          </a:lstStyle>
          <a:p>
            <a:pPr defTabSz="1828801">
              <a:defRPr/>
            </a:pPr>
            <a:fld id="{86CB4B4D-7CA3-9044-876B-883B54F8677D}" type="slidenum">
              <a:rPr lang="ru-RU" kern="1200">
                <a:latin typeface="Arial" panose="020B0604020202020204"/>
                <a:ea typeface="+mn-ea"/>
                <a:cs typeface="+mn-cs"/>
              </a:rPr>
              <a:pPr defTabSz="1828801">
                <a:defRPr/>
              </a:pPr>
              <a:t>11</a:t>
            </a:fld>
            <a:endParaRPr lang="ru-RU" kern="1200" dirty="0"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Заголовок 1">
            <a:extLst>
              <a:ext uri="{FF2B5EF4-FFF2-40B4-BE49-F238E27FC236}">
                <a16:creationId xmlns:a16="http://schemas.microsoft.com/office/drawing/2014/main" id="{ED949F6E-D39B-1C1D-1E09-D33B99A28390}"/>
              </a:ext>
            </a:extLst>
          </p:cNvPr>
          <p:cNvSpPr txBox="1">
            <a:spLocks/>
          </p:cNvSpPr>
          <p:nvPr/>
        </p:nvSpPr>
        <p:spPr>
          <a:xfrm>
            <a:off x="1748986" y="1352440"/>
            <a:ext cx="20600025" cy="108740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1pPr>
            <a:lvl2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pPr algn="l" hangingPunct="1"/>
            <a:r>
              <a:rPr lang="ru-RU" sz="54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Чат-бот можно интегрировать в любую </a:t>
            </a:r>
            <a:r>
              <a:rPr lang="ru-RU" sz="5400" dirty="0" err="1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цсеть</a:t>
            </a:r>
            <a:r>
              <a:rPr lang="ru-RU" sz="54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и приложение объединив коммуникацию</a:t>
            </a:r>
          </a:p>
        </p:txBody>
      </p:sp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F1E52AB2-A2AB-75EB-9ED9-421BA7734F44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86" t="36947" r="52880" b="30825"/>
          <a:stretch/>
        </p:blipFill>
        <p:spPr>
          <a:xfrm>
            <a:off x="4777909" y="7731715"/>
            <a:ext cx="2731732" cy="221561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47" name="Рисунок 46">
            <a:extLst>
              <a:ext uri="{FF2B5EF4-FFF2-40B4-BE49-F238E27FC236}">
                <a16:creationId xmlns:a16="http://schemas.microsoft.com/office/drawing/2014/main" id="{71F661E9-09E0-9F37-6C82-42B53D975977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49" t="37037" r="72204" b="30734"/>
          <a:stretch/>
        </p:blipFill>
        <p:spPr>
          <a:xfrm>
            <a:off x="1835074" y="7731715"/>
            <a:ext cx="2520082" cy="221561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D080C54F-75AA-E69B-E4C2-0E90A6D41F17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66" r="50000" b="62962"/>
          <a:stretch/>
        </p:blipFill>
        <p:spPr>
          <a:xfrm>
            <a:off x="4777907" y="4739690"/>
            <a:ext cx="2731734" cy="254610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49" name="Рисунок 48">
            <a:extLst>
              <a:ext uri="{FF2B5EF4-FFF2-40B4-BE49-F238E27FC236}">
                <a16:creationId xmlns:a16="http://schemas.microsoft.com/office/drawing/2014/main" id="{0D3EFF0C-03CF-3ED3-63A0-4587ACD9BB5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153" b="62963"/>
          <a:stretch/>
        </p:blipFill>
        <p:spPr>
          <a:xfrm>
            <a:off x="1835074" y="4739690"/>
            <a:ext cx="2520080" cy="254610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53" name="Рисунок 52">
            <a:extLst>
              <a:ext uri="{FF2B5EF4-FFF2-40B4-BE49-F238E27FC236}">
                <a16:creationId xmlns:a16="http://schemas.microsoft.com/office/drawing/2014/main" id="{F67C9BBA-C0CA-8BB8-608D-012C46D7AA3A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23" t="35089" r="34752" b="32682"/>
          <a:stretch/>
        </p:blipFill>
        <p:spPr>
          <a:xfrm>
            <a:off x="7932393" y="7731714"/>
            <a:ext cx="2520082" cy="223563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54" name="Рисунок 53">
            <a:extLst>
              <a:ext uri="{FF2B5EF4-FFF2-40B4-BE49-F238E27FC236}">
                <a16:creationId xmlns:a16="http://schemas.microsoft.com/office/drawing/2014/main" id="{916D2641-DD82-A4D7-0FC2-EA60F01C4FB6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715" r="14329" b="-4"/>
          <a:stretch/>
        </p:blipFill>
        <p:spPr>
          <a:xfrm>
            <a:off x="7932393" y="4739690"/>
            <a:ext cx="2520082" cy="254610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6232CEE-359D-894C-8A70-023369B07D57}"/>
              </a:ext>
            </a:extLst>
          </p:cNvPr>
          <p:cNvSpPr txBox="1"/>
          <p:nvPr/>
        </p:nvSpPr>
        <p:spPr>
          <a:xfrm>
            <a:off x="11086878" y="4734150"/>
            <a:ext cx="12445475" cy="40626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algn="l" defTabSz="18285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</a:pPr>
            <a:endParaRPr lang="ru-RU" sz="3600" kern="1200" dirty="0">
              <a:solidFill>
                <a:schemeClr val="bg1"/>
              </a:solidFill>
              <a:latin typeface="+mn-lt"/>
              <a:ea typeface="+mn-ea"/>
              <a:cs typeface="+mn-cs"/>
              <a:sym typeface="SB Sans Display"/>
            </a:endParaRPr>
          </a:p>
          <a:p>
            <a:pPr marL="963000" marR="0" lvl="1" indent="-685800" fontAlgn="auto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ru-RU" sz="5400" dirty="0">
                <a:gradFill flip="none" rotWithShape="1">
                  <a:gsLst>
                    <a:gs pos="0">
                      <a:srgbClr val="00D756"/>
                    </a:gs>
                    <a:gs pos="99000">
                      <a:srgbClr val="27C6E5"/>
                    </a:gs>
                  </a:gsLst>
                  <a:lin ang="10800000" scaled="1"/>
                  <a:tileRect/>
                </a:gra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  <a:sym typeface="SB Sans Display"/>
              </a:rPr>
              <a:t>24/7</a:t>
            </a:r>
            <a:r>
              <a:rPr lang="ru-RU" sz="4400" dirty="0">
                <a:solidFill>
                  <a:schemeClr val="bg1"/>
                </a:solidFill>
                <a:sym typeface="SB Sans Display"/>
              </a:rPr>
              <a:t> онлайн</a:t>
            </a:r>
          </a:p>
          <a:p>
            <a:pPr marL="963000" lvl="1" indent="-68580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ru-RU" sz="5400" dirty="0">
                <a:gradFill flip="none" rotWithShape="1">
                  <a:gsLst>
                    <a:gs pos="0">
                      <a:srgbClr val="00D756"/>
                    </a:gs>
                    <a:gs pos="99000">
                      <a:srgbClr val="27C6E5"/>
                    </a:gs>
                  </a:gsLst>
                  <a:lin ang="10800000" scaled="1"/>
                  <a:tileRect/>
                </a:gra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  <a:sym typeface="SB Sans Display"/>
              </a:rPr>
              <a:t>2</a:t>
            </a:r>
            <a:r>
              <a:rPr lang="ru-RU" sz="4400" dirty="0">
                <a:solidFill>
                  <a:schemeClr val="bg1"/>
                </a:solidFill>
                <a:sym typeface="SB Sans Display"/>
              </a:rPr>
              <a:t> секунды на ответ</a:t>
            </a:r>
          </a:p>
          <a:p>
            <a:pPr marL="848700" lvl="1" indent="-57150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ru-RU" sz="4400" dirty="0">
                <a:solidFill>
                  <a:schemeClr val="bg1"/>
                </a:solidFill>
                <a:sym typeface="SB Sans Display"/>
              </a:rPr>
              <a:t>на </a:t>
            </a:r>
            <a:r>
              <a:rPr lang="en-US" sz="5400" dirty="0">
                <a:gradFill flip="none" rotWithShape="1">
                  <a:gsLst>
                    <a:gs pos="0">
                      <a:srgbClr val="00D756"/>
                    </a:gs>
                    <a:gs pos="99000">
                      <a:srgbClr val="27C6E5"/>
                    </a:gs>
                  </a:gsLst>
                  <a:lin ang="10800000" scaled="1"/>
                  <a:tileRect/>
                </a:gra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  <a:sym typeface="SB Sans Display"/>
              </a:rPr>
              <a:t>3</a:t>
            </a:r>
            <a:r>
              <a:rPr lang="ru-RU" sz="5400" dirty="0">
                <a:gradFill flip="none" rotWithShape="1">
                  <a:gsLst>
                    <a:gs pos="0">
                      <a:srgbClr val="00D756"/>
                    </a:gs>
                    <a:gs pos="99000">
                      <a:srgbClr val="27C6E5"/>
                    </a:gs>
                  </a:gsLst>
                  <a:lin ang="10800000" scaled="1"/>
                  <a:tileRect/>
                </a:gra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  <a:sym typeface="SB Sans Display"/>
              </a:rPr>
              <a:t>0% </a:t>
            </a:r>
            <a:r>
              <a:rPr lang="ru-RU" sz="4400" dirty="0">
                <a:solidFill>
                  <a:schemeClr val="bg1"/>
                </a:solidFill>
                <a:sym typeface="SB Sans Display"/>
              </a:rPr>
              <a:t>меньше нагрузки на операторов</a:t>
            </a:r>
          </a:p>
        </p:txBody>
      </p:sp>
    </p:spTree>
    <p:extLst>
      <p:ext uri="{BB962C8B-B14F-4D97-AF65-F5344CB8AC3E}">
        <p14:creationId xmlns:p14="http://schemas.microsoft.com/office/powerpoint/2010/main" val="4058087140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536B7BC2-EFAC-7972-8125-E29B4E192265}"/>
              </a:ext>
            </a:extLst>
          </p:cNvPr>
          <p:cNvSpPr/>
          <p:nvPr/>
        </p:nvSpPr>
        <p:spPr>
          <a:xfrm>
            <a:off x="1579562" y="4527739"/>
            <a:ext cx="15428278" cy="1733533"/>
          </a:xfrm>
          <a:prstGeom prst="roundRect">
            <a:avLst>
              <a:gd name="adj" fmla="val 19119"/>
            </a:avLst>
          </a:pr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ru-RU" sz="3200" dirty="0">
              <a:ln w="0"/>
              <a:solidFill>
                <a:schemeClr val="tx2"/>
              </a:solidFill>
            </a:endParaRPr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id="{F8743D02-CC9C-E8F0-AE1C-302AAF30D88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79563" y="11922130"/>
            <a:ext cx="17573625" cy="368300"/>
          </a:xfrm>
        </p:spPr>
        <p:txBody>
          <a:bodyPr/>
          <a:lstStyle/>
          <a:p>
            <a:pPr marL="0" indent="0" algn="just">
              <a:buNone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*word error rate</a:t>
            </a:r>
          </a:p>
          <a:p>
            <a:pPr marL="0" indent="0" algn="just">
              <a:buNone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**</a:t>
            </a: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наличие синтезированной речи в диалогах позитивно влияло на 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WER</a:t>
            </a:r>
            <a:endParaRPr lang="ru-RU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 algn="just">
              <a:buNone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***</a:t>
            </a: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  <a:hlinkClick r:id="rId2" tooltip="https://developers.sber.ru/docs/ru/va/how-to/conversation/hints#%D0%BA%D0%B0%D0%BA-%D1%80%D0%B0%D0%B1%D0%BE%D1%82%D0%B0%D1%8E%D1%82-%D1%85%D0%B8%D0%BD%D1%82%D1%8B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как-работают-хинты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1F3ED48-5EB9-4FF5-4AA7-BFDBE1C8A6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>
                <a:solidFill>
                  <a:schemeClr val="tx1"/>
                </a:solidFill>
              </a:rPr>
              <a:t>Качественное распознавание речи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ru-RU" dirty="0">
                <a:solidFill>
                  <a:schemeClr val="tx1"/>
                </a:solidFill>
              </a:rPr>
              <a:t>для понимания клиента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48991649-61EC-D5EC-666D-566DF186FF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09181" y="2171410"/>
            <a:ext cx="4041107" cy="4041107"/>
          </a:xfrm>
          <a:prstGeom prst="roundRect">
            <a:avLst>
              <a:gd name="adj" fmla="val 10425"/>
            </a:avLst>
          </a:prstGeom>
          <a:noFill/>
          <a:effectLst>
            <a:outerShdw blurRad="844754" dist="50800" dir="5400000" sx="104000" sy="104000" algn="ctr" rotWithShape="0">
              <a:srgbClr val="000000">
                <a:alpha val="2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23EC83E-F14C-D382-F2BB-0924848A2A42}"/>
              </a:ext>
            </a:extLst>
          </p:cNvPr>
          <p:cNvSpPr txBox="1"/>
          <p:nvPr/>
        </p:nvSpPr>
        <p:spPr>
          <a:xfrm>
            <a:off x="1579562" y="2795100"/>
            <a:ext cx="13730922" cy="14219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ru-RU" sz="4800" dirty="0">
                <a:gradFill>
                  <a:gsLst>
                    <a:gs pos="0">
                      <a:srgbClr val="5FA5FF"/>
                    </a:gs>
                    <a:gs pos="89000">
                      <a:srgbClr val="0EE3A5"/>
                    </a:gs>
                  </a:gsLst>
                  <a:path path="circle">
                    <a:fillToRect r="100000" b="100000"/>
                  </a:path>
                </a:gradFill>
              </a:rPr>
              <a:t>Платформа </a:t>
            </a:r>
            <a:r>
              <a:rPr lang="en-US" sz="4800" dirty="0" err="1">
                <a:gradFill>
                  <a:gsLst>
                    <a:gs pos="0">
                      <a:srgbClr val="5FA5FF"/>
                    </a:gs>
                    <a:gs pos="89000">
                      <a:srgbClr val="0EE3A5"/>
                    </a:gs>
                  </a:gsLst>
                  <a:path path="circle">
                    <a:fillToRect r="100000" b="100000"/>
                  </a:path>
                </a:gradFill>
              </a:rPr>
              <a:t>SaluteSpeech</a:t>
            </a:r>
            <a:r>
              <a:rPr lang="en-US" sz="4800" dirty="0">
                <a:gradFill>
                  <a:gsLst>
                    <a:gs pos="0">
                      <a:srgbClr val="5FA5FF"/>
                    </a:gs>
                    <a:gs pos="89000">
                      <a:srgbClr val="0EE3A5"/>
                    </a:gs>
                  </a:gsLst>
                  <a:path path="circle">
                    <a:fillToRect r="100000" b="100000"/>
                  </a:path>
                </a:gradFill>
              </a:rPr>
              <a:t> </a:t>
            </a:r>
            <a:r>
              <a:rPr lang="ru-RU" sz="4800" dirty="0">
                <a:gradFill>
                  <a:gsLst>
                    <a:gs pos="0">
                      <a:srgbClr val="5FA5FF"/>
                    </a:gs>
                    <a:gs pos="89000">
                      <a:srgbClr val="0EE3A5"/>
                    </a:gs>
                  </a:gsLst>
                  <a:path path="circle">
                    <a:fillToRect r="100000" b="100000"/>
                  </a:path>
                </a:gradFill>
              </a:rPr>
              <a:t>использует проверенные технологии </a:t>
            </a:r>
            <a:r>
              <a:rPr lang="en-US" sz="4800" dirty="0" err="1">
                <a:gradFill>
                  <a:gsLst>
                    <a:gs pos="0">
                      <a:srgbClr val="5FA5FF"/>
                    </a:gs>
                    <a:gs pos="89000">
                      <a:srgbClr val="0EE3A5"/>
                    </a:gs>
                  </a:gsLst>
                  <a:path path="circle">
                    <a:fillToRect r="100000" b="100000"/>
                  </a:path>
                </a:gradFill>
              </a:rPr>
              <a:t>SberDevices</a:t>
            </a:r>
            <a:endParaRPr lang="en-US" sz="4800" dirty="0">
              <a:gradFill>
                <a:gsLst>
                  <a:gs pos="0">
                    <a:srgbClr val="5FA5FF"/>
                  </a:gs>
                  <a:gs pos="89000">
                    <a:srgbClr val="0EE3A5"/>
                  </a:gs>
                </a:gsLst>
                <a:path path="circle">
                  <a:fillToRect r="100000" b="100000"/>
                </a:path>
              </a:gra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E5B1E3A-3A1B-46E3-3383-8A5A0CD04CD7}"/>
              </a:ext>
            </a:extLst>
          </p:cNvPr>
          <p:cNvSpPr txBox="1"/>
          <p:nvPr/>
        </p:nvSpPr>
        <p:spPr>
          <a:xfrm>
            <a:off x="1855085" y="5071339"/>
            <a:ext cx="1687592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000"/>
              </a:spcAft>
            </a:pPr>
            <a:r>
              <a:rPr lang="ru-RU" sz="3600" dirty="0"/>
              <a:t>Распознавание речи </a:t>
            </a:r>
            <a:r>
              <a:rPr lang="en" sz="3600" dirty="0" err="1"/>
              <a:t>SaluteSpeech</a:t>
            </a:r>
            <a:r>
              <a:rPr lang="en" sz="3600" dirty="0"/>
              <a:t> </a:t>
            </a:r>
            <a:r>
              <a:rPr lang="en-US" sz="3600" dirty="0"/>
              <a:t>ASR</a:t>
            </a:r>
            <a:r>
              <a:rPr lang="ru-RU" sz="3600" dirty="0"/>
              <a:t> со</a:t>
            </a:r>
            <a:r>
              <a:rPr lang="en-US" sz="3600" dirty="0"/>
              <a:t> </a:t>
            </a:r>
            <a:r>
              <a:rPr lang="ru-RU" sz="3600" dirty="0"/>
              <a:t>стабильно низким </a:t>
            </a:r>
            <a:r>
              <a:rPr lang="en-US" sz="3600" dirty="0"/>
              <a:t>WER*</a:t>
            </a:r>
          </a:p>
        </p:txBody>
      </p:sp>
      <p:sp>
        <p:nvSpPr>
          <p:cNvPr id="11" name="Скругленный прямоугольник 10">
            <a:extLst>
              <a:ext uri="{FF2B5EF4-FFF2-40B4-BE49-F238E27FC236}">
                <a16:creationId xmlns:a16="http://schemas.microsoft.com/office/drawing/2014/main" id="{236E30D7-07DF-4CB1-57ED-25F7563ED0A6}"/>
              </a:ext>
            </a:extLst>
          </p:cNvPr>
          <p:cNvSpPr/>
          <p:nvPr/>
        </p:nvSpPr>
        <p:spPr>
          <a:xfrm>
            <a:off x="1579563" y="6547966"/>
            <a:ext cx="11710987" cy="5310120"/>
          </a:xfrm>
          <a:prstGeom prst="roundRect">
            <a:avLst>
              <a:gd name="adj" fmla="val 6305"/>
            </a:avLst>
          </a:pr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ru-RU" sz="3200" dirty="0">
              <a:ln w="0"/>
              <a:solidFill>
                <a:schemeClr val="tx2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3E3621B-26D7-EE2C-A4D0-26A7F0802DC6}"/>
              </a:ext>
            </a:extLst>
          </p:cNvPr>
          <p:cNvSpPr txBox="1"/>
          <p:nvPr/>
        </p:nvSpPr>
        <p:spPr>
          <a:xfrm>
            <a:off x="1855086" y="6939819"/>
            <a:ext cx="10794114" cy="43550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000"/>
              </a:spcAft>
            </a:pPr>
            <a:r>
              <a:rPr lang="ru-RU" dirty="0"/>
              <a:t>Возможность получать несколько гипотез распознавания, которые можно использовать для входа в сценарий / ветку сценария:</a:t>
            </a:r>
          </a:p>
          <a:p>
            <a:pPr marL="777600" lvl="1" indent="-777600">
              <a:spcAft>
                <a:spcPts val="1000"/>
              </a:spcAft>
              <a:buSzPct val="122000"/>
              <a:buFont typeface="Системный шрифт, обычный"/>
              <a:buChar char="—"/>
            </a:pPr>
            <a:r>
              <a:rPr lang="ru-RU" dirty="0"/>
              <a:t>повышение </a:t>
            </a:r>
            <a:r>
              <a:rPr lang="en-US" dirty="0"/>
              <a:t>CSI</a:t>
            </a:r>
          </a:p>
          <a:p>
            <a:pPr marL="777600" lvl="1" indent="-777600">
              <a:spcAft>
                <a:spcPts val="1000"/>
              </a:spcAft>
              <a:buSzPct val="122000"/>
              <a:buFont typeface="Системный шрифт, обычный"/>
              <a:buChar char="—"/>
            </a:pPr>
            <a:r>
              <a:rPr lang="ru-RU" dirty="0"/>
              <a:t>повышение точности сценария, разрешение вопроса клиента с первого раза</a:t>
            </a:r>
            <a:endParaRPr lang="en-US" dirty="0"/>
          </a:p>
          <a:p>
            <a:pPr marL="777600" lvl="1" indent="-777600">
              <a:spcAft>
                <a:spcPts val="1000"/>
              </a:spcAft>
              <a:buSzPct val="122000"/>
              <a:buFont typeface="Системный шрифт, обычный"/>
              <a:buChar char="—"/>
            </a:pPr>
            <a:r>
              <a:rPr lang="ru-RU" dirty="0"/>
              <a:t>рост % автоматизации</a:t>
            </a:r>
          </a:p>
        </p:txBody>
      </p:sp>
      <p:sp>
        <p:nvSpPr>
          <p:cNvPr id="13" name="Скругленный прямоугольник 12">
            <a:extLst>
              <a:ext uri="{FF2B5EF4-FFF2-40B4-BE49-F238E27FC236}">
                <a16:creationId xmlns:a16="http://schemas.microsoft.com/office/drawing/2014/main" id="{66D3E05F-714F-C932-ABC3-DFE0CB370327}"/>
              </a:ext>
            </a:extLst>
          </p:cNvPr>
          <p:cNvSpPr/>
          <p:nvPr/>
        </p:nvSpPr>
        <p:spPr>
          <a:xfrm>
            <a:off x="13655675" y="6547966"/>
            <a:ext cx="7694613" cy="5310120"/>
          </a:xfrm>
          <a:prstGeom prst="roundRect">
            <a:avLst>
              <a:gd name="adj" fmla="val 6305"/>
            </a:avLst>
          </a:pr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ru-RU" sz="3200" dirty="0">
              <a:ln w="0"/>
              <a:solidFill>
                <a:schemeClr val="tx2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029DFDD-D5B6-BE34-F3CF-E0138C2BA238}"/>
              </a:ext>
            </a:extLst>
          </p:cNvPr>
          <p:cNvSpPr txBox="1"/>
          <p:nvPr/>
        </p:nvSpPr>
        <p:spPr>
          <a:xfrm>
            <a:off x="13998224" y="6939819"/>
            <a:ext cx="7185376" cy="43550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000"/>
              </a:spcAft>
            </a:pPr>
            <a:r>
              <a:rPr lang="ru-RU" dirty="0" err="1"/>
              <a:t>Хинты</a:t>
            </a:r>
            <a:r>
              <a:rPr lang="ru-RU" dirty="0"/>
              <a:t> – подсказки для распознавания на определенном шаге сценария</a:t>
            </a:r>
            <a:r>
              <a:rPr lang="en-US" dirty="0"/>
              <a:t>***</a:t>
            </a:r>
            <a:endParaRPr lang="ru-RU" dirty="0"/>
          </a:p>
          <a:p>
            <a:pPr marL="777600" lvl="1" indent="-777600">
              <a:spcAft>
                <a:spcPts val="1000"/>
              </a:spcAft>
              <a:buSzPct val="122000"/>
              <a:buFont typeface="Системный шрифт, обычный"/>
              <a:buChar char="—"/>
            </a:pPr>
            <a:r>
              <a:rPr lang="ru-RU" dirty="0"/>
              <a:t>сокращение </a:t>
            </a:r>
            <a:r>
              <a:rPr lang="en-US" dirty="0"/>
              <a:t>TTM</a:t>
            </a:r>
          </a:p>
          <a:p>
            <a:pPr marL="777600" lvl="1" indent="-777600">
              <a:spcAft>
                <a:spcPts val="1000"/>
              </a:spcAft>
              <a:buSzPct val="122000"/>
              <a:buFont typeface="Системный шрифт, обычный"/>
              <a:buChar char="—"/>
            </a:pPr>
            <a:r>
              <a:rPr lang="ru-RU" dirty="0"/>
              <a:t>снижение затрат для </a:t>
            </a:r>
            <a:r>
              <a:rPr lang="ru-RU" dirty="0" err="1"/>
              <a:t>дообучения</a:t>
            </a:r>
            <a:endParaRPr lang="ru-RU" dirty="0"/>
          </a:p>
          <a:p>
            <a:pPr marL="777600" lvl="1" indent="-777600">
              <a:spcAft>
                <a:spcPts val="1000"/>
              </a:spcAft>
              <a:buSzPct val="122000"/>
              <a:buFont typeface="Системный шрифт, обычный"/>
              <a:buChar char="—"/>
            </a:pPr>
            <a:endParaRPr lang="ru-RU" dirty="0"/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7C2634EA-81D3-1369-109E-8FD121153D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78751" y="10762608"/>
            <a:ext cx="2324100" cy="2324100"/>
          </a:xfrm>
          <a:prstGeom prst="roundRect">
            <a:avLst>
              <a:gd name="adj" fmla="val 10425"/>
            </a:avLst>
          </a:prstGeom>
          <a:noFill/>
          <a:effectLst>
            <a:outerShdw blurRad="844754" dist="50800" dir="5400000" sx="104000" sy="104000" algn="ctr" rotWithShape="0">
              <a:srgbClr val="000000">
                <a:alpha val="2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CC7C2382-4141-389F-A404-DB59D637B2F2}"/>
              </a:ext>
            </a:extLst>
          </p:cNvPr>
          <p:cNvSpPr txBox="1"/>
          <p:nvPr/>
        </p:nvSpPr>
        <p:spPr>
          <a:xfrm>
            <a:off x="8172450" y="12686598"/>
            <a:ext cx="12192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r">
              <a:buNone/>
            </a:pPr>
            <a:r>
              <a:rPr lang="en" sz="2000" dirty="0">
                <a:solidFill>
                  <a:schemeClr val="tx1">
                    <a:lumMod val="50000"/>
                    <a:lumOff val="50000"/>
                  </a:schemeClr>
                </a:solidFill>
                <a:hlinkClick r:id="rId5" tooltip="https://developers.sber.ru/docs/ru/va/how-to/conversation/hints#%D0%BA%D0%B0%D0%BA-%D1%80%D0%B0%D0%B1%D0%BE%D1%82%D0%B0%D1%8E%D1%82-%D1%85%D0%B8%D0%BD%D1%82%D1%8B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evelopers.sber.ru/docs/ru/va/how-to/conversation/hints</a:t>
            </a:r>
            <a:endParaRPr lang="ru-RU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Текст 2">
            <a:extLst>
              <a:ext uri="{FF2B5EF4-FFF2-40B4-BE49-F238E27FC236}">
                <a16:creationId xmlns:a16="http://schemas.microsoft.com/office/drawing/2014/main" id="{80D08533-BC07-3343-A247-BB7A3D7745E4}"/>
              </a:ext>
            </a:extLst>
          </p:cNvPr>
          <p:cNvSpPr txBox="1">
            <a:spLocks/>
          </p:cNvSpPr>
          <p:nvPr/>
        </p:nvSpPr>
        <p:spPr>
          <a:xfrm>
            <a:off x="1430776" y="629225"/>
            <a:ext cx="21232800" cy="4399200"/>
          </a:xfrm>
          <a:prstGeom prst="rect">
            <a:avLst/>
          </a:prstGeom>
        </p:spPr>
        <p:txBody>
          <a:bodyPr/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" indent="0" algn="l" defTabSz="1907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bg2"/>
              </a:buClr>
              <a:buSzPct val="120000"/>
              <a:buFontTx/>
              <a:buNone/>
              <a:defRPr sz="3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00000"/>
              <a:buFont typeface="System Font Regular"/>
              <a:buChar char="•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0" dirty="0">
                <a:solidFill>
                  <a:schemeClr val="bg1"/>
                </a:solidFill>
              </a:rPr>
              <a:t>Salute</a:t>
            </a:r>
            <a:r>
              <a:rPr lang="en-GB" sz="12000" dirty="0">
                <a:solidFill>
                  <a:schemeClr val="bg1"/>
                </a:solidFill>
              </a:rPr>
              <a:t>Speech</a:t>
            </a:r>
            <a:endParaRPr lang="ru-RU" sz="1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81213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5355A576-A28A-2156-35C4-724CE94C4A3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61032" y="653760"/>
            <a:ext cx="12657304" cy="1450975"/>
          </a:xfr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Создание живой речи робота для комфорта клиента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22245C5-791B-C3BE-50F4-E7537F596C6F}"/>
              </a:ext>
            </a:extLst>
          </p:cNvPr>
          <p:cNvSpPr txBox="1"/>
          <p:nvPr/>
        </p:nvSpPr>
        <p:spPr>
          <a:xfrm>
            <a:off x="1461032" y="3949665"/>
            <a:ext cx="15656536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4800" dirty="0">
                <a:gradFill>
                  <a:gsLst>
                    <a:gs pos="0">
                      <a:srgbClr val="5FA5FF"/>
                    </a:gs>
                    <a:gs pos="89000">
                      <a:srgbClr val="0EE3A5"/>
                    </a:gs>
                  </a:gsLst>
                  <a:path path="circle">
                    <a:fillToRect r="100000" b="100000"/>
                  </a:path>
                </a:gradFill>
              </a:rPr>
              <a:t>TT</a:t>
            </a:r>
            <a:r>
              <a:rPr lang="en-AU" sz="4800" dirty="0">
                <a:gradFill>
                  <a:gsLst>
                    <a:gs pos="0">
                      <a:srgbClr val="5FA5FF"/>
                    </a:gs>
                    <a:gs pos="89000">
                      <a:srgbClr val="0EE3A5"/>
                    </a:gs>
                  </a:gsLst>
                  <a:path path="circle">
                    <a:fillToRect r="100000" b="100000"/>
                  </a:path>
                </a:gradFill>
              </a:rPr>
              <a:t>S </a:t>
            </a:r>
            <a:r>
              <a:rPr lang="ru-RU" sz="4800" dirty="0">
                <a:gradFill>
                  <a:gsLst>
                    <a:gs pos="0">
                      <a:srgbClr val="5FA5FF"/>
                    </a:gs>
                    <a:gs pos="89000">
                      <a:srgbClr val="0EE3A5"/>
                    </a:gs>
                  </a:gsLst>
                  <a:path path="circle">
                    <a:fillToRect r="100000" b="100000"/>
                  </a:path>
                </a:gradFill>
              </a:rPr>
              <a:t>—</a:t>
            </a:r>
            <a:r>
              <a:rPr lang="en-US" sz="4800" dirty="0">
                <a:gradFill>
                  <a:gsLst>
                    <a:gs pos="0">
                      <a:srgbClr val="5FA5FF"/>
                    </a:gs>
                    <a:gs pos="89000">
                      <a:srgbClr val="0EE3A5"/>
                    </a:gs>
                  </a:gsLst>
                  <a:path path="circle">
                    <a:fillToRect r="100000" b="100000"/>
                  </a:path>
                </a:gradFill>
              </a:rPr>
              <a:t> text to speech,</a:t>
            </a:r>
            <a:br>
              <a:rPr lang="ru-RU" sz="4800" dirty="0">
                <a:gradFill>
                  <a:gsLst>
                    <a:gs pos="0">
                      <a:srgbClr val="5FA5FF"/>
                    </a:gs>
                    <a:gs pos="89000">
                      <a:srgbClr val="0EE3A5"/>
                    </a:gs>
                  </a:gsLst>
                  <a:path path="circle">
                    <a:fillToRect r="100000" b="100000"/>
                  </a:path>
                </a:gradFill>
              </a:rPr>
            </a:br>
            <a:r>
              <a:rPr lang="ru-RU" sz="4800" dirty="0">
                <a:gradFill>
                  <a:gsLst>
                    <a:gs pos="0">
                      <a:srgbClr val="5FA5FF"/>
                    </a:gs>
                    <a:gs pos="89000">
                      <a:srgbClr val="0EE3A5"/>
                    </a:gs>
                  </a:gsLst>
                  <a:path path="circle">
                    <a:fillToRect r="100000" b="100000"/>
                  </a:path>
                </a:gradFill>
              </a:rPr>
              <a:t>преобразование текста в речь</a:t>
            </a:r>
            <a:endParaRPr lang="en-US" sz="4800" dirty="0">
              <a:gradFill>
                <a:gsLst>
                  <a:gs pos="0">
                    <a:srgbClr val="5FA5FF"/>
                  </a:gs>
                  <a:gs pos="89000">
                    <a:srgbClr val="0EE3A5"/>
                  </a:gs>
                </a:gsLst>
                <a:path path="circle">
                  <a:fillToRect r="100000" b="100000"/>
                </a:path>
              </a:gra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D4239D5-65F0-6C8A-8D08-ABAF272E6069}"/>
              </a:ext>
            </a:extLst>
          </p:cNvPr>
          <p:cNvSpPr txBox="1"/>
          <p:nvPr/>
        </p:nvSpPr>
        <p:spPr>
          <a:xfrm>
            <a:off x="1419947" y="5969394"/>
            <a:ext cx="11829518" cy="49552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65200" indent="-565200">
              <a:spcAft>
                <a:spcPts val="2400"/>
              </a:spcAft>
              <a:buSzPct val="122000"/>
              <a:buFont typeface="Системный шрифт, обычный"/>
              <a:buChar char="—"/>
            </a:pPr>
            <a:r>
              <a:rPr lang="ru-RU" sz="3200" dirty="0">
                <a:solidFill>
                  <a:schemeClr val="bg1"/>
                </a:solidFill>
              </a:rPr>
              <a:t>Разные мужские и женские голоса</a:t>
            </a:r>
          </a:p>
          <a:p>
            <a:pPr marL="565200" indent="-565200">
              <a:spcAft>
                <a:spcPts val="2400"/>
              </a:spcAft>
              <a:buSzPct val="122000"/>
              <a:buFont typeface="Системный шрифт, обычный"/>
              <a:buChar char="—"/>
            </a:pPr>
            <a:r>
              <a:rPr lang="ru-RU" sz="3200" dirty="0">
                <a:solidFill>
                  <a:schemeClr val="bg1"/>
                </a:solidFill>
              </a:rPr>
              <a:t>Регулярно пополняемая библиотека голосов</a:t>
            </a:r>
          </a:p>
          <a:p>
            <a:pPr marL="565200" indent="-565200">
              <a:spcAft>
                <a:spcPts val="2400"/>
              </a:spcAft>
              <a:buSzPct val="122000"/>
              <a:buFont typeface="Системный шрифт, обычный"/>
              <a:buChar char="—"/>
            </a:pPr>
            <a:r>
              <a:rPr lang="en-AU" sz="3200" dirty="0">
                <a:solidFill>
                  <a:schemeClr val="bg1"/>
                </a:solidFill>
              </a:rPr>
              <a:t>Production</a:t>
            </a:r>
            <a:r>
              <a:rPr lang="ru-RU" sz="3200" dirty="0">
                <a:solidFill>
                  <a:schemeClr val="bg1"/>
                </a:solidFill>
              </a:rPr>
              <a:t> технологии </a:t>
            </a:r>
            <a:r>
              <a:rPr lang="en-US" sz="3200" dirty="0" err="1">
                <a:solidFill>
                  <a:schemeClr val="bg1"/>
                </a:solidFill>
              </a:rPr>
              <a:t>SberDevices</a:t>
            </a:r>
            <a:r>
              <a:rPr lang="en-US" sz="3200" dirty="0">
                <a:solidFill>
                  <a:schemeClr val="bg1"/>
                </a:solidFill>
              </a:rPr>
              <a:t>:</a:t>
            </a:r>
            <a:endParaRPr lang="ru-RU" sz="3200" dirty="0">
              <a:solidFill>
                <a:schemeClr val="bg1"/>
              </a:solidFill>
            </a:endParaRPr>
          </a:p>
          <a:p>
            <a:pPr marL="277200" lvl="1" indent="277200"/>
            <a:r>
              <a:rPr lang="ru-RU" sz="3200" dirty="0">
                <a:solidFill>
                  <a:schemeClr val="bg1"/>
                </a:solidFill>
              </a:rPr>
              <a:t>Высококачественное звучание, отсутствие артефактов</a:t>
            </a:r>
          </a:p>
          <a:p>
            <a:pPr marL="277200" lvl="1" indent="277200"/>
            <a:r>
              <a:rPr lang="ru-RU" sz="3200" dirty="0">
                <a:solidFill>
                  <a:schemeClr val="bg1"/>
                </a:solidFill>
              </a:rPr>
              <a:t>Живая речь: превосходные интонации во всех случаях</a:t>
            </a:r>
          </a:p>
          <a:p>
            <a:pPr marL="277200" lvl="1" indent="277200"/>
            <a:r>
              <a:rPr lang="ru-RU" sz="3200" dirty="0">
                <a:solidFill>
                  <a:schemeClr val="bg1"/>
                </a:solidFill>
              </a:rPr>
              <a:t>Правильное произношение</a:t>
            </a:r>
          </a:p>
          <a:p>
            <a:pPr marL="277200" lvl="1" indent="277200"/>
            <a:r>
              <a:rPr lang="ru-RU" sz="3200" dirty="0">
                <a:solidFill>
                  <a:schemeClr val="bg1"/>
                </a:solidFill>
              </a:rPr>
              <a:t>Непрерывное улучшение качества сервиса</a:t>
            </a:r>
          </a:p>
          <a:p>
            <a:pPr marL="277200" lvl="1" indent="277200"/>
            <a:r>
              <a:rPr lang="ru-RU" sz="3200" dirty="0">
                <a:solidFill>
                  <a:schemeClr val="bg1"/>
                </a:solidFill>
              </a:rPr>
              <a:t>Встроенная нормализация текста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4232D6A-6C1D-CE2C-7C73-D8A80EF964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68184" y="3306873"/>
            <a:ext cx="11544191" cy="8553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84198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кругленный прямоугольник 4">
            <a:extLst>
              <a:ext uri="{FF2B5EF4-FFF2-40B4-BE49-F238E27FC236}">
                <a16:creationId xmlns:a16="http://schemas.microsoft.com/office/drawing/2014/main" id="{EACEA4C2-B501-F38C-A4CC-B4D1497B7704}"/>
              </a:ext>
            </a:extLst>
          </p:cNvPr>
          <p:cNvSpPr/>
          <p:nvPr/>
        </p:nvSpPr>
        <p:spPr>
          <a:xfrm>
            <a:off x="17660587" y="906463"/>
            <a:ext cx="5151788" cy="11342687"/>
          </a:xfrm>
          <a:prstGeom prst="roundRect">
            <a:avLst>
              <a:gd name="adj" fmla="val 6305"/>
            </a:avLst>
          </a:prstGeom>
          <a:solidFill>
            <a:srgbClr val="090708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ru-RU" sz="3200" dirty="0">
              <a:ln w="0"/>
              <a:solidFill>
                <a:schemeClr val="tx2"/>
              </a:solidFill>
            </a:endParaRPr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id="{E8234F38-63FD-2FDD-6266-6E8E7143AE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>
                <a:solidFill>
                  <a:schemeClr val="bg1">
                    <a:lumMod val="65000"/>
                  </a:schemeClr>
                </a:solidFill>
              </a:rPr>
              <a:t>Динамика эмоций</a:t>
            </a:r>
            <a:br>
              <a:rPr lang="ru-RU" dirty="0">
                <a:solidFill>
                  <a:schemeClr val="bg1">
                    <a:lumMod val="65000"/>
                  </a:schemeClr>
                </a:solidFill>
              </a:rPr>
            </a:br>
            <a:r>
              <a:rPr lang="ru-RU" dirty="0">
                <a:solidFill>
                  <a:schemeClr val="bg1">
                    <a:lumMod val="65000"/>
                  </a:schemeClr>
                </a:solidFill>
              </a:rPr>
              <a:t>клиента в диалоге</a:t>
            </a:r>
            <a:endParaRPr lang="en-US" dirty="0">
              <a:solidFill>
                <a:schemeClr val="bg1">
                  <a:lumMod val="65000"/>
                </a:schemeClr>
              </a:solidFill>
            </a:endParaRPr>
          </a:p>
          <a:p>
            <a:endParaRPr lang="ru-RU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0A629390-C493-76AA-BE24-AD3DD0EF6C4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79563" y="12384847"/>
            <a:ext cx="17573625" cy="368300"/>
          </a:xfrm>
        </p:spPr>
        <p:txBody>
          <a:bodyPr/>
          <a:lstStyle/>
          <a:p>
            <a:r>
              <a:rPr lang="en" dirty="0"/>
              <a:t>*Customer Satisfaction Index</a:t>
            </a:r>
            <a:br>
              <a:rPr lang="en-US" dirty="0"/>
            </a:br>
            <a:r>
              <a:rPr lang="en-US" dirty="0"/>
              <a:t>** Net Promoter Score</a:t>
            </a:r>
            <a:endParaRPr lang="ru-RU" dirty="0"/>
          </a:p>
          <a:p>
            <a:endParaRPr lang="ru-RU" dirty="0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ACCDC45D-B474-6D6C-AA83-116FE529CE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14212" y="1371601"/>
            <a:ext cx="5034758" cy="101304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E7E5C48-98D0-D455-6F3B-A57D35F10947}"/>
              </a:ext>
            </a:extLst>
          </p:cNvPr>
          <p:cNvSpPr txBox="1"/>
          <p:nvPr/>
        </p:nvSpPr>
        <p:spPr>
          <a:xfrm>
            <a:off x="4757418" y="3815209"/>
            <a:ext cx="11727182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4800" dirty="0"/>
              <a:t>Одновременно с распознаванием речи работает и распознавание эмоций</a:t>
            </a:r>
          </a:p>
        </p:txBody>
      </p:sp>
      <p:sp>
        <p:nvSpPr>
          <p:cNvPr id="8" name="Скругленный прямоугольник 7">
            <a:extLst>
              <a:ext uri="{FF2B5EF4-FFF2-40B4-BE49-F238E27FC236}">
                <a16:creationId xmlns:a16="http://schemas.microsoft.com/office/drawing/2014/main" id="{88E11C18-9639-22AF-ED4D-4367A595C86F}"/>
              </a:ext>
            </a:extLst>
          </p:cNvPr>
          <p:cNvSpPr/>
          <p:nvPr/>
        </p:nvSpPr>
        <p:spPr>
          <a:xfrm>
            <a:off x="1579563" y="6392863"/>
            <a:ext cx="9147175" cy="5871177"/>
          </a:xfrm>
          <a:prstGeom prst="roundRect">
            <a:avLst>
              <a:gd name="adj" fmla="val 6305"/>
            </a:avLst>
          </a:pr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ru-RU" sz="3200" dirty="0">
              <a:ln w="0"/>
              <a:solidFill>
                <a:schemeClr val="tx2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2F6CDD2-8BBA-2A39-703A-575F8346E954}"/>
              </a:ext>
            </a:extLst>
          </p:cNvPr>
          <p:cNvSpPr txBox="1"/>
          <p:nvPr/>
        </p:nvSpPr>
        <p:spPr>
          <a:xfrm>
            <a:off x="1855086" y="6669812"/>
            <a:ext cx="9041514" cy="47807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000"/>
              </a:spcAft>
            </a:pPr>
            <a:r>
              <a:rPr lang="ru-RU" dirty="0"/>
              <a:t>Мы распознаем 3 эмоции для каждой фразы (позитив, негатив, нейтраль):</a:t>
            </a:r>
          </a:p>
          <a:p>
            <a:pPr marL="777600" lvl="1" indent="-777600">
              <a:spcAft>
                <a:spcPts val="1000"/>
              </a:spcAft>
              <a:buSzPct val="122000"/>
              <a:buFont typeface="Системный шрифт, обычный"/>
              <a:buChar char="—"/>
            </a:pPr>
            <a:r>
              <a:rPr lang="ru-RU" dirty="0"/>
              <a:t>повышение </a:t>
            </a:r>
            <a:r>
              <a:rPr lang="en-US" dirty="0"/>
              <a:t>CSI* </a:t>
            </a:r>
            <a:r>
              <a:rPr lang="ru-RU" dirty="0"/>
              <a:t>за счет работы с клиентами, диалог с которыми закончился на негативе</a:t>
            </a:r>
          </a:p>
          <a:p>
            <a:pPr marL="777600" lvl="1" indent="-777600">
              <a:spcAft>
                <a:spcPts val="1000"/>
              </a:spcAft>
              <a:buSzPct val="122000"/>
              <a:buFont typeface="Системный шрифт, обычный"/>
              <a:buChar char="—"/>
            </a:pPr>
            <a:r>
              <a:rPr lang="ru-RU" dirty="0"/>
              <a:t>рост качества обслуживания, </a:t>
            </a:r>
            <a:r>
              <a:rPr lang="en-US" dirty="0"/>
              <a:t>NPS**</a:t>
            </a:r>
            <a:r>
              <a:rPr lang="ru-RU" dirty="0"/>
              <a:t> за счет работы с сотрудниками, провоцирующими негатив клиента</a:t>
            </a:r>
          </a:p>
        </p:txBody>
      </p:sp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4A69F7D3-DE19-3CF2-AE9C-3F40AEAFE073}"/>
              </a:ext>
            </a:extLst>
          </p:cNvPr>
          <p:cNvSpPr/>
          <p:nvPr/>
        </p:nvSpPr>
        <p:spPr>
          <a:xfrm>
            <a:off x="11172123" y="6392863"/>
            <a:ext cx="6145915" cy="5871177"/>
          </a:xfrm>
          <a:prstGeom prst="roundRect">
            <a:avLst>
              <a:gd name="adj" fmla="val 6305"/>
            </a:avLst>
          </a:pr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ru-RU" sz="3200" dirty="0">
              <a:ln w="0"/>
              <a:solidFill>
                <a:schemeClr val="tx2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C1BAE65-F28B-AFA5-C357-00A630B62B42}"/>
              </a:ext>
            </a:extLst>
          </p:cNvPr>
          <p:cNvSpPr txBox="1"/>
          <p:nvPr/>
        </p:nvSpPr>
        <p:spPr>
          <a:xfrm>
            <a:off x="11514672" y="6669812"/>
            <a:ext cx="5530148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000"/>
              </a:spcAft>
            </a:pPr>
            <a:r>
              <a:rPr lang="ru-RU" sz="3600" dirty="0"/>
              <a:t>Распознаем эмоции </a:t>
            </a:r>
            <a:r>
              <a:rPr lang="ru-RU" sz="3600" u="sng" dirty="0"/>
              <a:t>онлайн</a:t>
            </a:r>
            <a:r>
              <a:rPr lang="ru-RU" sz="3600" dirty="0"/>
              <a:t> для оперативной реакции на инциденты</a:t>
            </a:r>
            <a:endParaRPr lang="ru-RU" dirty="0"/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0D696EDA-66AC-35FC-EB37-41B3A1E55538}"/>
              </a:ext>
            </a:extLst>
          </p:cNvPr>
          <p:cNvGrpSpPr/>
          <p:nvPr/>
        </p:nvGrpSpPr>
        <p:grpSpPr>
          <a:xfrm>
            <a:off x="1516158" y="3268402"/>
            <a:ext cx="3101332" cy="2740211"/>
            <a:chOff x="7503537" y="24638132"/>
            <a:chExt cx="8376544" cy="7401174"/>
          </a:xfrm>
        </p:grpSpPr>
        <p:sp>
          <p:nvSpPr>
            <p:cNvPr id="13" name="Прямоугольник 23">
              <a:extLst>
                <a:ext uri="{FF2B5EF4-FFF2-40B4-BE49-F238E27FC236}">
                  <a16:creationId xmlns:a16="http://schemas.microsoft.com/office/drawing/2014/main" id="{CA172961-B2B4-C00C-4A94-F91FA8DC43FD}"/>
                </a:ext>
              </a:extLst>
            </p:cNvPr>
            <p:cNvSpPr/>
            <p:nvPr/>
          </p:nvSpPr>
          <p:spPr>
            <a:xfrm>
              <a:off x="8288047" y="24638132"/>
              <a:ext cx="7576443" cy="7401174"/>
            </a:xfrm>
            <a:custGeom>
              <a:avLst/>
              <a:gdLst>
                <a:gd name="connsiteX0" fmla="*/ 0 w 8241475"/>
                <a:gd name="connsiteY0" fmla="*/ 0 h 1175657"/>
                <a:gd name="connsiteX1" fmla="*/ 8241475 w 8241475"/>
                <a:gd name="connsiteY1" fmla="*/ 0 h 1175657"/>
                <a:gd name="connsiteX2" fmla="*/ 8241475 w 8241475"/>
                <a:gd name="connsiteY2" fmla="*/ 1175657 h 1175657"/>
                <a:gd name="connsiteX3" fmla="*/ 0 w 8241475"/>
                <a:gd name="connsiteY3" fmla="*/ 1175657 h 1175657"/>
                <a:gd name="connsiteX4" fmla="*/ 0 w 8241475"/>
                <a:gd name="connsiteY4" fmla="*/ 0 h 1175657"/>
                <a:gd name="connsiteX0" fmla="*/ 0 w 8241475"/>
                <a:gd name="connsiteY0" fmla="*/ 605642 h 1175657"/>
                <a:gd name="connsiteX1" fmla="*/ 8241475 w 8241475"/>
                <a:gd name="connsiteY1" fmla="*/ 0 h 1175657"/>
                <a:gd name="connsiteX2" fmla="*/ 8241475 w 8241475"/>
                <a:gd name="connsiteY2" fmla="*/ 1175657 h 1175657"/>
                <a:gd name="connsiteX3" fmla="*/ 0 w 8241475"/>
                <a:gd name="connsiteY3" fmla="*/ 1175657 h 1175657"/>
                <a:gd name="connsiteX4" fmla="*/ 0 w 8241475"/>
                <a:gd name="connsiteY4" fmla="*/ 605642 h 1175657"/>
                <a:gd name="connsiteX0" fmla="*/ 0 w 8241475"/>
                <a:gd name="connsiteY0" fmla="*/ 605642 h 1175657"/>
                <a:gd name="connsiteX1" fmla="*/ 1852550 w 8241475"/>
                <a:gd name="connsiteY1" fmla="*/ 475013 h 1175657"/>
                <a:gd name="connsiteX2" fmla="*/ 8241475 w 8241475"/>
                <a:gd name="connsiteY2" fmla="*/ 0 h 1175657"/>
                <a:gd name="connsiteX3" fmla="*/ 8241475 w 8241475"/>
                <a:gd name="connsiteY3" fmla="*/ 1175657 h 1175657"/>
                <a:gd name="connsiteX4" fmla="*/ 0 w 8241475"/>
                <a:gd name="connsiteY4" fmla="*/ 1175657 h 1175657"/>
                <a:gd name="connsiteX5" fmla="*/ 0 w 8241475"/>
                <a:gd name="connsiteY5" fmla="*/ 605642 h 1175657"/>
                <a:gd name="connsiteX0" fmla="*/ 0 w 8241475"/>
                <a:gd name="connsiteY0" fmla="*/ 973777 h 1543792"/>
                <a:gd name="connsiteX1" fmla="*/ 1852550 w 8241475"/>
                <a:gd name="connsiteY1" fmla="*/ 0 h 1543792"/>
                <a:gd name="connsiteX2" fmla="*/ 8241475 w 8241475"/>
                <a:gd name="connsiteY2" fmla="*/ 368135 h 1543792"/>
                <a:gd name="connsiteX3" fmla="*/ 8241475 w 8241475"/>
                <a:gd name="connsiteY3" fmla="*/ 1543792 h 1543792"/>
                <a:gd name="connsiteX4" fmla="*/ 0 w 8241475"/>
                <a:gd name="connsiteY4" fmla="*/ 1543792 h 1543792"/>
                <a:gd name="connsiteX5" fmla="*/ 0 w 8241475"/>
                <a:gd name="connsiteY5" fmla="*/ 973777 h 1543792"/>
                <a:gd name="connsiteX0" fmla="*/ 0 w 8241475"/>
                <a:gd name="connsiteY0" fmla="*/ 973777 h 1543792"/>
                <a:gd name="connsiteX1" fmla="*/ 1852550 w 8241475"/>
                <a:gd name="connsiteY1" fmla="*/ 0 h 1543792"/>
                <a:gd name="connsiteX2" fmla="*/ 8241475 w 8241475"/>
                <a:gd name="connsiteY2" fmla="*/ 368135 h 1543792"/>
                <a:gd name="connsiteX3" fmla="*/ 8241475 w 8241475"/>
                <a:gd name="connsiteY3" fmla="*/ 1543792 h 1543792"/>
                <a:gd name="connsiteX4" fmla="*/ 0 w 8241475"/>
                <a:gd name="connsiteY4" fmla="*/ 1543792 h 1543792"/>
                <a:gd name="connsiteX5" fmla="*/ 0 w 8241475"/>
                <a:gd name="connsiteY5" fmla="*/ 973777 h 1543792"/>
                <a:gd name="connsiteX0" fmla="*/ 0 w 8241475"/>
                <a:gd name="connsiteY0" fmla="*/ 973777 h 1543792"/>
                <a:gd name="connsiteX1" fmla="*/ 1710046 w 8241475"/>
                <a:gd name="connsiteY1" fmla="*/ 0 h 1543792"/>
                <a:gd name="connsiteX2" fmla="*/ 8241475 w 8241475"/>
                <a:gd name="connsiteY2" fmla="*/ 368135 h 1543792"/>
                <a:gd name="connsiteX3" fmla="*/ 8241475 w 8241475"/>
                <a:gd name="connsiteY3" fmla="*/ 1543792 h 1543792"/>
                <a:gd name="connsiteX4" fmla="*/ 0 w 8241475"/>
                <a:gd name="connsiteY4" fmla="*/ 1543792 h 1543792"/>
                <a:gd name="connsiteX5" fmla="*/ 0 w 8241475"/>
                <a:gd name="connsiteY5" fmla="*/ 973777 h 1543792"/>
                <a:gd name="connsiteX0" fmla="*/ 0 w 8241475"/>
                <a:gd name="connsiteY0" fmla="*/ 985952 h 1555967"/>
                <a:gd name="connsiteX1" fmla="*/ 1710046 w 8241475"/>
                <a:gd name="connsiteY1" fmla="*/ 12175 h 1555967"/>
                <a:gd name="connsiteX2" fmla="*/ 8241475 w 8241475"/>
                <a:gd name="connsiteY2" fmla="*/ 380310 h 1555967"/>
                <a:gd name="connsiteX3" fmla="*/ 8241475 w 8241475"/>
                <a:gd name="connsiteY3" fmla="*/ 1555967 h 1555967"/>
                <a:gd name="connsiteX4" fmla="*/ 0 w 8241475"/>
                <a:gd name="connsiteY4" fmla="*/ 1555967 h 1555967"/>
                <a:gd name="connsiteX5" fmla="*/ 0 w 8241475"/>
                <a:gd name="connsiteY5" fmla="*/ 985952 h 1555967"/>
                <a:gd name="connsiteX0" fmla="*/ 0 w 8241475"/>
                <a:gd name="connsiteY0" fmla="*/ 1533793 h 2103808"/>
                <a:gd name="connsiteX1" fmla="*/ 1710046 w 8241475"/>
                <a:gd name="connsiteY1" fmla="*/ 560016 h 2103808"/>
                <a:gd name="connsiteX2" fmla="*/ 8241475 w 8241475"/>
                <a:gd name="connsiteY2" fmla="*/ 928151 h 2103808"/>
                <a:gd name="connsiteX3" fmla="*/ 8241475 w 8241475"/>
                <a:gd name="connsiteY3" fmla="*/ 2103808 h 2103808"/>
                <a:gd name="connsiteX4" fmla="*/ 0 w 8241475"/>
                <a:gd name="connsiteY4" fmla="*/ 2103808 h 2103808"/>
                <a:gd name="connsiteX5" fmla="*/ 0 w 8241475"/>
                <a:gd name="connsiteY5" fmla="*/ 1533793 h 2103808"/>
                <a:gd name="connsiteX0" fmla="*/ 0 w 8241475"/>
                <a:gd name="connsiteY0" fmla="*/ 1538766 h 2108781"/>
                <a:gd name="connsiteX1" fmla="*/ 1710046 w 8241475"/>
                <a:gd name="connsiteY1" fmla="*/ 564989 h 2108781"/>
                <a:gd name="connsiteX2" fmla="*/ 2968831 w 8241475"/>
                <a:gd name="connsiteY2" fmla="*/ 6850 h 2108781"/>
                <a:gd name="connsiteX3" fmla="*/ 8241475 w 8241475"/>
                <a:gd name="connsiteY3" fmla="*/ 933124 h 2108781"/>
                <a:gd name="connsiteX4" fmla="*/ 8241475 w 8241475"/>
                <a:gd name="connsiteY4" fmla="*/ 2108781 h 2108781"/>
                <a:gd name="connsiteX5" fmla="*/ 0 w 8241475"/>
                <a:gd name="connsiteY5" fmla="*/ 2108781 h 2108781"/>
                <a:gd name="connsiteX6" fmla="*/ 0 w 8241475"/>
                <a:gd name="connsiteY6" fmla="*/ 1538766 h 2108781"/>
                <a:gd name="connsiteX0" fmla="*/ 0 w 8241475"/>
                <a:gd name="connsiteY0" fmla="*/ 979236 h 1549251"/>
                <a:gd name="connsiteX1" fmla="*/ 1710046 w 8241475"/>
                <a:gd name="connsiteY1" fmla="*/ 5459 h 1549251"/>
                <a:gd name="connsiteX2" fmla="*/ 2695699 w 8241475"/>
                <a:gd name="connsiteY2" fmla="*/ 575476 h 1549251"/>
                <a:gd name="connsiteX3" fmla="*/ 8241475 w 8241475"/>
                <a:gd name="connsiteY3" fmla="*/ 373594 h 1549251"/>
                <a:gd name="connsiteX4" fmla="*/ 8241475 w 8241475"/>
                <a:gd name="connsiteY4" fmla="*/ 1549251 h 1549251"/>
                <a:gd name="connsiteX5" fmla="*/ 0 w 8241475"/>
                <a:gd name="connsiteY5" fmla="*/ 1549251 h 1549251"/>
                <a:gd name="connsiteX6" fmla="*/ 0 w 8241475"/>
                <a:gd name="connsiteY6" fmla="*/ 979236 h 1549251"/>
                <a:gd name="connsiteX0" fmla="*/ 0 w 8241475"/>
                <a:gd name="connsiteY0" fmla="*/ 979039 h 1549054"/>
                <a:gd name="connsiteX1" fmla="*/ 1710046 w 8241475"/>
                <a:gd name="connsiteY1" fmla="*/ 5262 h 1549054"/>
                <a:gd name="connsiteX2" fmla="*/ 2695699 w 8241475"/>
                <a:gd name="connsiteY2" fmla="*/ 575279 h 1549054"/>
                <a:gd name="connsiteX3" fmla="*/ 8241475 w 8241475"/>
                <a:gd name="connsiteY3" fmla="*/ 373397 h 1549054"/>
                <a:gd name="connsiteX4" fmla="*/ 8241475 w 8241475"/>
                <a:gd name="connsiteY4" fmla="*/ 1549054 h 1549054"/>
                <a:gd name="connsiteX5" fmla="*/ 0 w 8241475"/>
                <a:gd name="connsiteY5" fmla="*/ 1549054 h 1549054"/>
                <a:gd name="connsiteX6" fmla="*/ 0 w 8241475"/>
                <a:gd name="connsiteY6" fmla="*/ 979039 h 1549054"/>
                <a:gd name="connsiteX0" fmla="*/ 0 w 8241475"/>
                <a:gd name="connsiteY0" fmla="*/ 979039 h 1549054"/>
                <a:gd name="connsiteX1" fmla="*/ 1710046 w 8241475"/>
                <a:gd name="connsiteY1" fmla="*/ 5262 h 1549054"/>
                <a:gd name="connsiteX2" fmla="*/ 2695699 w 8241475"/>
                <a:gd name="connsiteY2" fmla="*/ 575279 h 1549054"/>
                <a:gd name="connsiteX3" fmla="*/ 8241475 w 8241475"/>
                <a:gd name="connsiteY3" fmla="*/ 373397 h 1549054"/>
                <a:gd name="connsiteX4" fmla="*/ 8241475 w 8241475"/>
                <a:gd name="connsiteY4" fmla="*/ 1549054 h 1549054"/>
                <a:gd name="connsiteX5" fmla="*/ 0 w 8241475"/>
                <a:gd name="connsiteY5" fmla="*/ 1549054 h 1549054"/>
                <a:gd name="connsiteX6" fmla="*/ 0 w 8241475"/>
                <a:gd name="connsiteY6" fmla="*/ 979039 h 1549054"/>
                <a:gd name="connsiteX0" fmla="*/ 0 w 8241475"/>
                <a:gd name="connsiteY0" fmla="*/ 979039 h 1549054"/>
                <a:gd name="connsiteX1" fmla="*/ 1710046 w 8241475"/>
                <a:gd name="connsiteY1" fmla="*/ 5262 h 1549054"/>
                <a:gd name="connsiteX2" fmla="*/ 2695699 w 8241475"/>
                <a:gd name="connsiteY2" fmla="*/ 575279 h 1549054"/>
                <a:gd name="connsiteX3" fmla="*/ 8241475 w 8241475"/>
                <a:gd name="connsiteY3" fmla="*/ 373397 h 1549054"/>
                <a:gd name="connsiteX4" fmla="*/ 8241475 w 8241475"/>
                <a:gd name="connsiteY4" fmla="*/ 1549054 h 1549054"/>
                <a:gd name="connsiteX5" fmla="*/ 0 w 8241475"/>
                <a:gd name="connsiteY5" fmla="*/ 1549054 h 1549054"/>
                <a:gd name="connsiteX6" fmla="*/ 0 w 8241475"/>
                <a:gd name="connsiteY6" fmla="*/ 979039 h 1549054"/>
                <a:gd name="connsiteX0" fmla="*/ 0 w 8241475"/>
                <a:gd name="connsiteY0" fmla="*/ 1021567 h 1591582"/>
                <a:gd name="connsiteX1" fmla="*/ 1710046 w 8241475"/>
                <a:gd name="connsiteY1" fmla="*/ 47790 h 1591582"/>
                <a:gd name="connsiteX2" fmla="*/ 2695699 w 8241475"/>
                <a:gd name="connsiteY2" fmla="*/ 617807 h 1591582"/>
                <a:gd name="connsiteX3" fmla="*/ 8241475 w 8241475"/>
                <a:gd name="connsiteY3" fmla="*/ 415925 h 1591582"/>
                <a:gd name="connsiteX4" fmla="*/ 8241475 w 8241475"/>
                <a:gd name="connsiteY4" fmla="*/ 1591582 h 1591582"/>
                <a:gd name="connsiteX5" fmla="*/ 0 w 8241475"/>
                <a:gd name="connsiteY5" fmla="*/ 1591582 h 1591582"/>
                <a:gd name="connsiteX6" fmla="*/ 0 w 8241475"/>
                <a:gd name="connsiteY6" fmla="*/ 1021567 h 1591582"/>
                <a:gd name="connsiteX0" fmla="*/ 0 w 8241475"/>
                <a:gd name="connsiteY0" fmla="*/ 1021567 h 1591582"/>
                <a:gd name="connsiteX1" fmla="*/ 1710046 w 8241475"/>
                <a:gd name="connsiteY1" fmla="*/ 47790 h 1591582"/>
                <a:gd name="connsiteX2" fmla="*/ 2695699 w 8241475"/>
                <a:gd name="connsiteY2" fmla="*/ 617807 h 1591582"/>
                <a:gd name="connsiteX3" fmla="*/ 8241475 w 8241475"/>
                <a:gd name="connsiteY3" fmla="*/ 415925 h 1591582"/>
                <a:gd name="connsiteX4" fmla="*/ 8241475 w 8241475"/>
                <a:gd name="connsiteY4" fmla="*/ 1591582 h 1591582"/>
                <a:gd name="connsiteX5" fmla="*/ 0 w 8241475"/>
                <a:gd name="connsiteY5" fmla="*/ 1591582 h 1591582"/>
                <a:gd name="connsiteX6" fmla="*/ 0 w 8241475"/>
                <a:gd name="connsiteY6" fmla="*/ 1021567 h 1591582"/>
                <a:gd name="connsiteX0" fmla="*/ 0 w 8241475"/>
                <a:gd name="connsiteY0" fmla="*/ 1021567 h 1591582"/>
                <a:gd name="connsiteX1" fmla="*/ 1710046 w 8241475"/>
                <a:gd name="connsiteY1" fmla="*/ 47790 h 1591582"/>
                <a:gd name="connsiteX2" fmla="*/ 2695699 w 8241475"/>
                <a:gd name="connsiteY2" fmla="*/ 617807 h 1591582"/>
                <a:gd name="connsiteX3" fmla="*/ 8241475 w 8241475"/>
                <a:gd name="connsiteY3" fmla="*/ 415925 h 1591582"/>
                <a:gd name="connsiteX4" fmla="*/ 8241475 w 8241475"/>
                <a:gd name="connsiteY4" fmla="*/ 1591582 h 1591582"/>
                <a:gd name="connsiteX5" fmla="*/ 0 w 8241475"/>
                <a:gd name="connsiteY5" fmla="*/ 1591582 h 1591582"/>
                <a:gd name="connsiteX6" fmla="*/ 0 w 8241475"/>
                <a:gd name="connsiteY6" fmla="*/ 1021567 h 1591582"/>
                <a:gd name="connsiteX0" fmla="*/ 0 w 8241475"/>
                <a:gd name="connsiteY0" fmla="*/ 1137835 h 1707850"/>
                <a:gd name="connsiteX1" fmla="*/ 1710046 w 8241475"/>
                <a:gd name="connsiteY1" fmla="*/ 164058 h 1707850"/>
                <a:gd name="connsiteX2" fmla="*/ 2695699 w 8241475"/>
                <a:gd name="connsiteY2" fmla="*/ 734075 h 1707850"/>
                <a:gd name="connsiteX3" fmla="*/ 8241475 w 8241475"/>
                <a:gd name="connsiteY3" fmla="*/ 532193 h 1707850"/>
                <a:gd name="connsiteX4" fmla="*/ 8241475 w 8241475"/>
                <a:gd name="connsiteY4" fmla="*/ 1707850 h 1707850"/>
                <a:gd name="connsiteX5" fmla="*/ 0 w 8241475"/>
                <a:gd name="connsiteY5" fmla="*/ 1707850 h 1707850"/>
                <a:gd name="connsiteX6" fmla="*/ 0 w 8241475"/>
                <a:gd name="connsiteY6" fmla="*/ 1137835 h 1707850"/>
                <a:gd name="connsiteX0" fmla="*/ 0 w 8241475"/>
                <a:gd name="connsiteY0" fmla="*/ 1023384 h 1593399"/>
                <a:gd name="connsiteX1" fmla="*/ 1710046 w 8241475"/>
                <a:gd name="connsiteY1" fmla="*/ 49607 h 1593399"/>
                <a:gd name="connsiteX2" fmla="*/ 2695699 w 8241475"/>
                <a:gd name="connsiteY2" fmla="*/ 619624 h 1593399"/>
                <a:gd name="connsiteX3" fmla="*/ 8241475 w 8241475"/>
                <a:gd name="connsiteY3" fmla="*/ 417742 h 1593399"/>
                <a:gd name="connsiteX4" fmla="*/ 8241475 w 8241475"/>
                <a:gd name="connsiteY4" fmla="*/ 1593399 h 1593399"/>
                <a:gd name="connsiteX5" fmla="*/ 0 w 8241475"/>
                <a:gd name="connsiteY5" fmla="*/ 1593399 h 1593399"/>
                <a:gd name="connsiteX6" fmla="*/ 0 w 8241475"/>
                <a:gd name="connsiteY6" fmla="*/ 1023384 h 1593399"/>
                <a:gd name="connsiteX0" fmla="*/ 0 w 8241475"/>
                <a:gd name="connsiteY0" fmla="*/ 1092924 h 1662939"/>
                <a:gd name="connsiteX1" fmla="*/ 1710046 w 8241475"/>
                <a:gd name="connsiteY1" fmla="*/ 119147 h 1662939"/>
                <a:gd name="connsiteX2" fmla="*/ 2695699 w 8241475"/>
                <a:gd name="connsiteY2" fmla="*/ 689164 h 1662939"/>
                <a:gd name="connsiteX3" fmla="*/ 8241475 w 8241475"/>
                <a:gd name="connsiteY3" fmla="*/ 487282 h 1662939"/>
                <a:gd name="connsiteX4" fmla="*/ 8241475 w 8241475"/>
                <a:gd name="connsiteY4" fmla="*/ 1662939 h 1662939"/>
                <a:gd name="connsiteX5" fmla="*/ 0 w 8241475"/>
                <a:gd name="connsiteY5" fmla="*/ 1662939 h 1662939"/>
                <a:gd name="connsiteX6" fmla="*/ 0 w 8241475"/>
                <a:gd name="connsiteY6" fmla="*/ 1092924 h 1662939"/>
                <a:gd name="connsiteX0" fmla="*/ 0 w 8241475"/>
                <a:gd name="connsiteY0" fmla="*/ 881855 h 1451870"/>
                <a:gd name="connsiteX1" fmla="*/ 1520041 w 8241475"/>
                <a:gd name="connsiteY1" fmla="*/ 145585 h 1451870"/>
                <a:gd name="connsiteX2" fmla="*/ 2695699 w 8241475"/>
                <a:gd name="connsiteY2" fmla="*/ 478095 h 1451870"/>
                <a:gd name="connsiteX3" fmla="*/ 8241475 w 8241475"/>
                <a:gd name="connsiteY3" fmla="*/ 276213 h 1451870"/>
                <a:gd name="connsiteX4" fmla="*/ 8241475 w 8241475"/>
                <a:gd name="connsiteY4" fmla="*/ 1451870 h 1451870"/>
                <a:gd name="connsiteX5" fmla="*/ 0 w 8241475"/>
                <a:gd name="connsiteY5" fmla="*/ 1451870 h 1451870"/>
                <a:gd name="connsiteX6" fmla="*/ 0 w 8241475"/>
                <a:gd name="connsiteY6" fmla="*/ 881855 h 1451870"/>
                <a:gd name="connsiteX0" fmla="*/ 0 w 8241475"/>
                <a:gd name="connsiteY0" fmla="*/ 971357 h 1541372"/>
                <a:gd name="connsiteX1" fmla="*/ 1520041 w 8241475"/>
                <a:gd name="connsiteY1" fmla="*/ 235087 h 1541372"/>
                <a:gd name="connsiteX2" fmla="*/ 2695699 w 8241475"/>
                <a:gd name="connsiteY2" fmla="*/ 567597 h 1541372"/>
                <a:gd name="connsiteX3" fmla="*/ 8241475 w 8241475"/>
                <a:gd name="connsiteY3" fmla="*/ 365715 h 1541372"/>
                <a:gd name="connsiteX4" fmla="*/ 8241475 w 8241475"/>
                <a:gd name="connsiteY4" fmla="*/ 1541372 h 1541372"/>
                <a:gd name="connsiteX5" fmla="*/ 0 w 8241475"/>
                <a:gd name="connsiteY5" fmla="*/ 1541372 h 1541372"/>
                <a:gd name="connsiteX6" fmla="*/ 0 w 8241475"/>
                <a:gd name="connsiteY6" fmla="*/ 971357 h 1541372"/>
                <a:gd name="connsiteX0" fmla="*/ 0 w 8241475"/>
                <a:gd name="connsiteY0" fmla="*/ 971357 h 1541372"/>
                <a:gd name="connsiteX1" fmla="*/ 1520041 w 8241475"/>
                <a:gd name="connsiteY1" fmla="*/ 235087 h 1541372"/>
                <a:gd name="connsiteX2" fmla="*/ 2695699 w 8241475"/>
                <a:gd name="connsiteY2" fmla="*/ 567597 h 1541372"/>
                <a:gd name="connsiteX3" fmla="*/ 3954483 w 8241475"/>
                <a:gd name="connsiteY3" fmla="*/ 520095 h 1541372"/>
                <a:gd name="connsiteX4" fmla="*/ 8241475 w 8241475"/>
                <a:gd name="connsiteY4" fmla="*/ 365715 h 1541372"/>
                <a:gd name="connsiteX5" fmla="*/ 8241475 w 8241475"/>
                <a:gd name="connsiteY5" fmla="*/ 1541372 h 1541372"/>
                <a:gd name="connsiteX6" fmla="*/ 0 w 8241475"/>
                <a:gd name="connsiteY6" fmla="*/ 1541372 h 1541372"/>
                <a:gd name="connsiteX7" fmla="*/ 0 w 8241475"/>
                <a:gd name="connsiteY7" fmla="*/ 971357 h 1541372"/>
                <a:gd name="connsiteX0" fmla="*/ 0 w 8241475"/>
                <a:gd name="connsiteY0" fmla="*/ 1485523 h 2055538"/>
                <a:gd name="connsiteX1" fmla="*/ 1520041 w 8241475"/>
                <a:gd name="connsiteY1" fmla="*/ 749253 h 2055538"/>
                <a:gd name="connsiteX2" fmla="*/ 2695699 w 8241475"/>
                <a:gd name="connsiteY2" fmla="*/ 1081763 h 2055538"/>
                <a:gd name="connsiteX3" fmla="*/ 3966358 w 8241475"/>
                <a:gd name="connsiteY3" fmla="*/ 1108 h 2055538"/>
                <a:gd name="connsiteX4" fmla="*/ 8241475 w 8241475"/>
                <a:gd name="connsiteY4" fmla="*/ 879881 h 2055538"/>
                <a:gd name="connsiteX5" fmla="*/ 8241475 w 8241475"/>
                <a:gd name="connsiteY5" fmla="*/ 2055538 h 2055538"/>
                <a:gd name="connsiteX6" fmla="*/ 0 w 8241475"/>
                <a:gd name="connsiteY6" fmla="*/ 2055538 h 2055538"/>
                <a:gd name="connsiteX7" fmla="*/ 0 w 8241475"/>
                <a:gd name="connsiteY7" fmla="*/ 1485523 h 2055538"/>
                <a:gd name="connsiteX0" fmla="*/ 0 w 8241475"/>
                <a:gd name="connsiteY0" fmla="*/ 1485523 h 2055538"/>
                <a:gd name="connsiteX1" fmla="*/ 1520041 w 8241475"/>
                <a:gd name="connsiteY1" fmla="*/ 749253 h 2055538"/>
                <a:gd name="connsiteX2" fmla="*/ 2695699 w 8241475"/>
                <a:gd name="connsiteY2" fmla="*/ 1081763 h 2055538"/>
                <a:gd name="connsiteX3" fmla="*/ 3966358 w 8241475"/>
                <a:gd name="connsiteY3" fmla="*/ 1108 h 2055538"/>
                <a:gd name="connsiteX4" fmla="*/ 8241475 w 8241475"/>
                <a:gd name="connsiteY4" fmla="*/ 879881 h 2055538"/>
                <a:gd name="connsiteX5" fmla="*/ 8241475 w 8241475"/>
                <a:gd name="connsiteY5" fmla="*/ 2055538 h 2055538"/>
                <a:gd name="connsiteX6" fmla="*/ 0 w 8241475"/>
                <a:gd name="connsiteY6" fmla="*/ 2055538 h 2055538"/>
                <a:gd name="connsiteX7" fmla="*/ 0 w 8241475"/>
                <a:gd name="connsiteY7" fmla="*/ 1485523 h 2055538"/>
                <a:gd name="connsiteX0" fmla="*/ 0 w 8241475"/>
                <a:gd name="connsiteY0" fmla="*/ 1523749 h 2093764"/>
                <a:gd name="connsiteX1" fmla="*/ 1520041 w 8241475"/>
                <a:gd name="connsiteY1" fmla="*/ 787479 h 2093764"/>
                <a:gd name="connsiteX2" fmla="*/ 2695699 w 8241475"/>
                <a:gd name="connsiteY2" fmla="*/ 1119989 h 2093764"/>
                <a:gd name="connsiteX3" fmla="*/ 3966358 w 8241475"/>
                <a:gd name="connsiteY3" fmla="*/ 39334 h 2093764"/>
                <a:gd name="connsiteX4" fmla="*/ 5688280 w 8241475"/>
                <a:gd name="connsiteY4" fmla="*/ 300591 h 2093764"/>
                <a:gd name="connsiteX5" fmla="*/ 8241475 w 8241475"/>
                <a:gd name="connsiteY5" fmla="*/ 918107 h 2093764"/>
                <a:gd name="connsiteX6" fmla="*/ 8241475 w 8241475"/>
                <a:gd name="connsiteY6" fmla="*/ 2093764 h 2093764"/>
                <a:gd name="connsiteX7" fmla="*/ 0 w 8241475"/>
                <a:gd name="connsiteY7" fmla="*/ 2093764 h 2093764"/>
                <a:gd name="connsiteX8" fmla="*/ 0 w 8241475"/>
                <a:gd name="connsiteY8" fmla="*/ 1523749 h 2093764"/>
                <a:gd name="connsiteX0" fmla="*/ 0 w 8241475"/>
                <a:gd name="connsiteY0" fmla="*/ 1498244 h 2068259"/>
                <a:gd name="connsiteX1" fmla="*/ 1520041 w 8241475"/>
                <a:gd name="connsiteY1" fmla="*/ 761974 h 2068259"/>
                <a:gd name="connsiteX2" fmla="*/ 2695699 w 8241475"/>
                <a:gd name="connsiteY2" fmla="*/ 1094484 h 2068259"/>
                <a:gd name="connsiteX3" fmla="*/ 3966358 w 8241475"/>
                <a:gd name="connsiteY3" fmla="*/ 13829 h 2068259"/>
                <a:gd name="connsiteX4" fmla="*/ 5569527 w 8241475"/>
                <a:gd name="connsiteY4" fmla="*/ 940104 h 2068259"/>
                <a:gd name="connsiteX5" fmla="*/ 8241475 w 8241475"/>
                <a:gd name="connsiteY5" fmla="*/ 892602 h 2068259"/>
                <a:gd name="connsiteX6" fmla="*/ 8241475 w 8241475"/>
                <a:gd name="connsiteY6" fmla="*/ 2068259 h 2068259"/>
                <a:gd name="connsiteX7" fmla="*/ 0 w 8241475"/>
                <a:gd name="connsiteY7" fmla="*/ 2068259 h 2068259"/>
                <a:gd name="connsiteX8" fmla="*/ 0 w 8241475"/>
                <a:gd name="connsiteY8" fmla="*/ 1498244 h 2068259"/>
                <a:gd name="connsiteX0" fmla="*/ 0 w 8241475"/>
                <a:gd name="connsiteY0" fmla="*/ 1498244 h 2068259"/>
                <a:gd name="connsiteX1" fmla="*/ 1520041 w 8241475"/>
                <a:gd name="connsiteY1" fmla="*/ 761974 h 2068259"/>
                <a:gd name="connsiteX2" fmla="*/ 2695699 w 8241475"/>
                <a:gd name="connsiteY2" fmla="*/ 1094484 h 2068259"/>
                <a:gd name="connsiteX3" fmla="*/ 3966358 w 8241475"/>
                <a:gd name="connsiteY3" fmla="*/ 13829 h 2068259"/>
                <a:gd name="connsiteX4" fmla="*/ 5569527 w 8241475"/>
                <a:gd name="connsiteY4" fmla="*/ 940104 h 2068259"/>
                <a:gd name="connsiteX5" fmla="*/ 6757059 w 8241475"/>
                <a:gd name="connsiteY5" fmla="*/ 904478 h 2068259"/>
                <a:gd name="connsiteX6" fmla="*/ 8241475 w 8241475"/>
                <a:gd name="connsiteY6" fmla="*/ 892602 h 2068259"/>
                <a:gd name="connsiteX7" fmla="*/ 8241475 w 8241475"/>
                <a:gd name="connsiteY7" fmla="*/ 2068259 h 2068259"/>
                <a:gd name="connsiteX8" fmla="*/ 0 w 8241475"/>
                <a:gd name="connsiteY8" fmla="*/ 2068259 h 2068259"/>
                <a:gd name="connsiteX9" fmla="*/ 0 w 8241475"/>
                <a:gd name="connsiteY9" fmla="*/ 1498244 h 2068259"/>
                <a:gd name="connsiteX0" fmla="*/ 0 w 8241475"/>
                <a:gd name="connsiteY0" fmla="*/ 1498244 h 2068259"/>
                <a:gd name="connsiteX1" fmla="*/ 1520041 w 8241475"/>
                <a:gd name="connsiteY1" fmla="*/ 761974 h 2068259"/>
                <a:gd name="connsiteX2" fmla="*/ 2695699 w 8241475"/>
                <a:gd name="connsiteY2" fmla="*/ 1094484 h 2068259"/>
                <a:gd name="connsiteX3" fmla="*/ 3966358 w 8241475"/>
                <a:gd name="connsiteY3" fmla="*/ 13829 h 2068259"/>
                <a:gd name="connsiteX4" fmla="*/ 5569527 w 8241475"/>
                <a:gd name="connsiteY4" fmla="*/ 940104 h 2068259"/>
                <a:gd name="connsiteX5" fmla="*/ 6852062 w 8241475"/>
                <a:gd name="connsiteY5" fmla="*/ 263211 h 2068259"/>
                <a:gd name="connsiteX6" fmla="*/ 8241475 w 8241475"/>
                <a:gd name="connsiteY6" fmla="*/ 892602 h 2068259"/>
                <a:gd name="connsiteX7" fmla="*/ 8241475 w 8241475"/>
                <a:gd name="connsiteY7" fmla="*/ 2068259 h 2068259"/>
                <a:gd name="connsiteX8" fmla="*/ 0 w 8241475"/>
                <a:gd name="connsiteY8" fmla="*/ 2068259 h 2068259"/>
                <a:gd name="connsiteX9" fmla="*/ 0 w 8241475"/>
                <a:gd name="connsiteY9" fmla="*/ 1498244 h 2068259"/>
                <a:gd name="connsiteX0" fmla="*/ 0 w 8241475"/>
                <a:gd name="connsiteY0" fmla="*/ 1498244 h 2068259"/>
                <a:gd name="connsiteX1" fmla="*/ 1520041 w 8241475"/>
                <a:gd name="connsiteY1" fmla="*/ 761974 h 2068259"/>
                <a:gd name="connsiteX2" fmla="*/ 2695699 w 8241475"/>
                <a:gd name="connsiteY2" fmla="*/ 1094484 h 2068259"/>
                <a:gd name="connsiteX3" fmla="*/ 3966358 w 8241475"/>
                <a:gd name="connsiteY3" fmla="*/ 13829 h 2068259"/>
                <a:gd name="connsiteX4" fmla="*/ 5569527 w 8241475"/>
                <a:gd name="connsiteY4" fmla="*/ 940104 h 2068259"/>
                <a:gd name="connsiteX5" fmla="*/ 6852062 w 8241475"/>
                <a:gd name="connsiteY5" fmla="*/ 263211 h 2068259"/>
                <a:gd name="connsiteX6" fmla="*/ 8241475 w 8241475"/>
                <a:gd name="connsiteY6" fmla="*/ 1415117 h 2068259"/>
                <a:gd name="connsiteX7" fmla="*/ 8241475 w 8241475"/>
                <a:gd name="connsiteY7" fmla="*/ 2068259 h 2068259"/>
                <a:gd name="connsiteX8" fmla="*/ 0 w 8241475"/>
                <a:gd name="connsiteY8" fmla="*/ 2068259 h 2068259"/>
                <a:gd name="connsiteX9" fmla="*/ 0 w 8241475"/>
                <a:gd name="connsiteY9" fmla="*/ 1498244 h 2068259"/>
                <a:gd name="connsiteX0" fmla="*/ 0 w 8241475"/>
                <a:gd name="connsiteY0" fmla="*/ 1498244 h 2068259"/>
                <a:gd name="connsiteX1" fmla="*/ 1520041 w 8241475"/>
                <a:gd name="connsiteY1" fmla="*/ 761974 h 2068259"/>
                <a:gd name="connsiteX2" fmla="*/ 2695699 w 8241475"/>
                <a:gd name="connsiteY2" fmla="*/ 1094484 h 2068259"/>
                <a:gd name="connsiteX3" fmla="*/ 3966358 w 8241475"/>
                <a:gd name="connsiteY3" fmla="*/ 13829 h 2068259"/>
                <a:gd name="connsiteX4" fmla="*/ 5569527 w 8241475"/>
                <a:gd name="connsiteY4" fmla="*/ 940104 h 2068259"/>
                <a:gd name="connsiteX5" fmla="*/ 6852062 w 8241475"/>
                <a:gd name="connsiteY5" fmla="*/ 263211 h 2068259"/>
                <a:gd name="connsiteX6" fmla="*/ 8241475 w 8241475"/>
                <a:gd name="connsiteY6" fmla="*/ 1415117 h 2068259"/>
                <a:gd name="connsiteX7" fmla="*/ 8241475 w 8241475"/>
                <a:gd name="connsiteY7" fmla="*/ 2068259 h 2068259"/>
                <a:gd name="connsiteX8" fmla="*/ 0 w 8241475"/>
                <a:gd name="connsiteY8" fmla="*/ 2068259 h 2068259"/>
                <a:gd name="connsiteX9" fmla="*/ 0 w 8241475"/>
                <a:gd name="connsiteY9" fmla="*/ 1498244 h 2068259"/>
                <a:gd name="connsiteX0" fmla="*/ 0 w 8241475"/>
                <a:gd name="connsiteY0" fmla="*/ 1498244 h 2068259"/>
                <a:gd name="connsiteX1" fmla="*/ 1520041 w 8241475"/>
                <a:gd name="connsiteY1" fmla="*/ 761974 h 2068259"/>
                <a:gd name="connsiteX2" fmla="*/ 2695699 w 8241475"/>
                <a:gd name="connsiteY2" fmla="*/ 1094484 h 2068259"/>
                <a:gd name="connsiteX3" fmla="*/ 3966358 w 8241475"/>
                <a:gd name="connsiteY3" fmla="*/ 13829 h 2068259"/>
                <a:gd name="connsiteX4" fmla="*/ 5569527 w 8241475"/>
                <a:gd name="connsiteY4" fmla="*/ 940104 h 2068259"/>
                <a:gd name="connsiteX5" fmla="*/ 6852062 w 8241475"/>
                <a:gd name="connsiteY5" fmla="*/ 263211 h 2068259"/>
                <a:gd name="connsiteX6" fmla="*/ 8241475 w 8241475"/>
                <a:gd name="connsiteY6" fmla="*/ 1415117 h 2068259"/>
                <a:gd name="connsiteX7" fmla="*/ 8241475 w 8241475"/>
                <a:gd name="connsiteY7" fmla="*/ 2068259 h 2068259"/>
                <a:gd name="connsiteX8" fmla="*/ 0 w 8241475"/>
                <a:gd name="connsiteY8" fmla="*/ 2068259 h 2068259"/>
                <a:gd name="connsiteX9" fmla="*/ 0 w 8241475"/>
                <a:gd name="connsiteY9" fmla="*/ 1498244 h 2068259"/>
                <a:gd name="connsiteX0" fmla="*/ 0 w 8241475"/>
                <a:gd name="connsiteY0" fmla="*/ 1498244 h 2068259"/>
                <a:gd name="connsiteX1" fmla="*/ 1520041 w 8241475"/>
                <a:gd name="connsiteY1" fmla="*/ 761974 h 2068259"/>
                <a:gd name="connsiteX2" fmla="*/ 2695699 w 8241475"/>
                <a:gd name="connsiteY2" fmla="*/ 1094484 h 2068259"/>
                <a:gd name="connsiteX3" fmla="*/ 3966358 w 8241475"/>
                <a:gd name="connsiteY3" fmla="*/ 13829 h 2068259"/>
                <a:gd name="connsiteX4" fmla="*/ 5569527 w 8241475"/>
                <a:gd name="connsiteY4" fmla="*/ 940104 h 2068259"/>
                <a:gd name="connsiteX5" fmla="*/ 6852062 w 8241475"/>
                <a:gd name="connsiteY5" fmla="*/ 263211 h 2068259"/>
                <a:gd name="connsiteX6" fmla="*/ 8241475 w 8241475"/>
                <a:gd name="connsiteY6" fmla="*/ 1415117 h 2068259"/>
                <a:gd name="connsiteX7" fmla="*/ 8241475 w 8241475"/>
                <a:gd name="connsiteY7" fmla="*/ 2068259 h 2068259"/>
                <a:gd name="connsiteX8" fmla="*/ 0 w 8241475"/>
                <a:gd name="connsiteY8" fmla="*/ 2068259 h 2068259"/>
                <a:gd name="connsiteX9" fmla="*/ 0 w 8241475"/>
                <a:gd name="connsiteY9" fmla="*/ 1498244 h 2068259"/>
                <a:gd name="connsiteX0" fmla="*/ 0 w 8241475"/>
                <a:gd name="connsiteY0" fmla="*/ 1498244 h 2068260"/>
                <a:gd name="connsiteX1" fmla="*/ 1520041 w 8241475"/>
                <a:gd name="connsiteY1" fmla="*/ 761974 h 2068260"/>
                <a:gd name="connsiteX2" fmla="*/ 2695699 w 8241475"/>
                <a:gd name="connsiteY2" fmla="*/ 1094484 h 2068260"/>
                <a:gd name="connsiteX3" fmla="*/ 3966358 w 8241475"/>
                <a:gd name="connsiteY3" fmla="*/ 13829 h 2068260"/>
                <a:gd name="connsiteX4" fmla="*/ 5569527 w 8241475"/>
                <a:gd name="connsiteY4" fmla="*/ 940104 h 2068260"/>
                <a:gd name="connsiteX5" fmla="*/ 6852062 w 8241475"/>
                <a:gd name="connsiteY5" fmla="*/ 263211 h 2068260"/>
                <a:gd name="connsiteX6" fmla="*/ 8241475 w 8241475"/>
                <a:gd name="connsiteY6" fmla="*/ 1415117 h 2068260"/>
                <a:gd name="connsiteX7" fmla="*/ 8241475 w 8241475"/>
                <a:gd name="connsiteY7" fmla="*/ 2068259 h 2068260"/>
                <a:gd name="connsiteX8" fmla="*/ 1793174 w 8241475"/>
                <a:gd name="connsiteY8" fmla="*/ 2068260 h 2068260"/>
                <a:gd name="connsiteX9" fmla="*/ 0 w 8241475"/>
                <a:gd name="connsiteY9" fmla="*/ 2068259 h 2068260"/>
                <a:gd name="connsiteX10" fmla="*/ 0 w 8241475"/>
                <a:gd name="connsiteY10" fmla="*/ 1498244 h 2068260"/>
                <a:gd name="connsiteX0" fmla="*/ 0 w 8241475"/>
                <a:gd name="connsiteY0" fmla="*/ 1498244 h 2709528"/>
                <a:gd name="connsiteX1" fmla="*/ 1520041 w 8241475"/>
                <a:gd name="connsiteY1" fmla="*/ 761974 h 2709528"/>
                <a:gd name="connsiteX2" fmla="*/ 2695699 w 8241475"/>
                <a:gd name="connsiteY2" fmla="*/ 1094484 h 2709528"/>
                <a:gd name="connsiteX3" fmla="*/ 3966358 w 8241475"/>
                <a:gd name="connsiteY3" fmla="*/ 13829 h 2709528"/>
                <a:gd name="connsiteX4" fmla="*/ 5569527 w 8241475"/>
                <a:gd name="connsiteY4" fmla="*/ 940104 h 2709528"/>
                <a:gd name="connsiteX5" fmla="*/ 6852062 w 8241475"/>
                <a:gd name="connsiteY5" fmla="*/ 263211 h 2709528"/>
                <a:gd name="connsiteX6" fmla="*/ 8241475 w 8241475"/>
                <a:gd name="connsiteY6" fmla="*/ 1415117 h 2709528"/>
                <a:gd name="connsiteX7" fmla="*/ 8241475 w 8241475"/>
                <a:gd name="connsiteY7" fmla="*/ 2068259 h 2709528"/>
                <a:gd name="connsiteX8" fmla="*/ 1888177 w 8241475"/>
                <a:gd name="connsiteY8" fmla="*/ 2709528 h 2709528"/>
                <a:gd name="connsiteX9" fmla="*/ 0 w 8241475"/>
                <a:gd name="connsiteY9" fmla="*/ 2068259 h 2709528"/>
                <a:gd name="connsiteX10" fmla="*/ 0 w 8241475"/>
                <a:gd name="connsiteY10" fmla="*/ 1498244 h 2709528"/>
                <a:gd name="connsiteX0" fmla="*/ 0 w 8241475"/>
                <a:gd name="connsiteY0" fmla="*/ 1498244 h 2709528"/>
                <a:gd name="connsiteX1" fmla="*/ 1520041 w 8241475"/>
                <a:gd name="connsiteY1" fmla="*/ 761974 h 2709528"/>
                <a:gd name="connsiteX2" fmla="*/ 2695699 w 8241475"/>
                <a:gd name="connsiteY2" fmla="*/ 1094484 h 2709528"/>
                <a:gd name="connsiteX3" fmla="*/ 3966358 w 8241475"/>
                <a:gd name="connsiteY3" fmla="*/ 13829 h 2709528"/>
                <a:gd name="connsiteX4" fmla="*/ 5569527 w 8241475"/>
                <a:gd name="connsiteY4" fmla="*/ 940104 h 2709528"/>
                <a:gd name="connsiteX5" fmla="*/ 6852062 w 8241475"/>
                <a:gd name="connsiteY5" fmla="*/ 263211 h 2709528"/>
                <a:gd name="connsiteX6" fmla="*/ 8241475 w 8241475"/>
                <a:gd name="connsiteY6" fmla="*/ 1415117 h 2709528"/>
                <a:gd name="connsiteX7" fmla="*/ 8241475 w 8241475"/>
                <a:gd name="connsiteY7" fmla="*/ 2068259 h 2709528"/>
                <a:gd name="connsiteX8" fmla="*/ 1888177 w 8241475"/>
                <a:gd name="connsiteY8" fmla="*/ 2709528 h 2709528"/>
                <a:gd name="connsiteX9" fmla="*/ 0 w 8241475"/>
                <a:gd name="connsiteY9" fmla="*/ 2068259 h 2709528"/>
                <a:gd name="connsiteX10" fmla="*/ 0 w 8241475"/>
                <a:gd name="connsiteY10" fmla="*/ 1498244 h 2709528"/>
                <a:gd name="connsiteX0" fmla="*/ 0 w 8241475"/>
                <a:gd name="connsiteY0" fmla="*/ 1498244 h 2709528"/>
                <a:gd name="connsiteX1" fmla="*/ 1520041 w 8241475"/>
                <a:gd name="connsiteY1" fmla="*/ 761974 h 2709528"/>
                <a:gd name="connsiteX2" fmla="*/ 2695699 w 8241475"/>
                <a:gd name="connsiteY2" fmla="*/ 1094484 h 2709528"/>
                <a:gd name="connsiteX3" fmla="*/ 3966358 w 8241475"/>
                <a:gd name="connsiteY3" fmla="*/ 13829 h 2709528"/>
                <a:gd name="connsiteX4" fmla="*/ 5569527 w 8241475"/>
                <a:gd name="connsiteY4" fmla="*/ 940104 h 2709528"/>
                <a:gd name="connsiteX5" fmla="*/ 6852062 w 8241475"/>
                <a:gd name="connsiteY5" fmla="*/ 263211 h 2709528"/>
                <a:gd name="connsiteX6" fmla="*/ 8241475 w 8241475"/>
                <a:gd name="connsiteY6" fmla="*/ 1415117 h 2709528"/>
                <a:gd name="connsiteX7" fmla="*/ 8241475 w 8241475"/>
                <a:gd name="connsiteY7" fmla="*/ 2068259 h 2709528"/>
                <a:gd name="connsiteX8" fmla="*/ 1888177 w 8241475"/>
                <a:gd name="connsiteY8" fmla="*/ 2709528 h 2709528"/>
                <a:gd name="connsiteX9" fmla="*/ 11876 w 8241475"/>
                <a:gd name="connsiteY9" fmla="*/ 1676373 h 2709528"/>
                <a:gd name="connsiteX10" fmla="*/ 0 w 8241475"/>
                <a:gd name="connsiteY10" fmla="*/ 1498244 h 2709528"/>
                <a:gd name="connsiteX0" fmla="*/ 0 w 8241475"/>
                <a:gd name="connsiteY0" fmla="*/ 1498244 h 2709528"/>
                <a:gd name="connsiteX1" fmla="*/ 1520041 w 8241475"/>
                <a:gd name="connsiteY1" fmla="*/ 761974 h 2709528"/>
                <a:gd name="connsiteX2" fmla="*/ 2695699 w 8241475"/>
                <a:gd name="connsiteY2" fmla="*/ 1094484 h 2709528"/>
                <a:gd name="connsiteX3" fmla="*/ 3966358 w 8241475"/>
                <a:gd name="connsiteY3" fmla="*/ 13829 h 2709528"/>
                <a:gd name="connsiteX4" fmla="*/ 5569527 w 8241475"/>
                <a:gd name="connsiteY4" fmla="*/ 940104 h 2709528"/>
                <a:gd name="connsiteX5" fmla="*/ 6852062 w 8241475"/>
                <a:gd name="connsiteY5" fmla="*/ 263211 h 2709528"/>
                <a:gd name="connsiteX6" fmla="*/ 8241475 w 8241475"/>
                <a:gd name="connsiteY6" fmla="*/ 1415117 h 2709528"/>
                <a:gd name="connsiteX7" fmla="*/ 8241475 w 8241475"/>
                <a:gd name="connsiteY7" fmla="*/ 2068259 h 2709528"/>
                <a:gd name="connsiteX8" fmla="*/ 1888177 w 8241475"/>
                <a:gd name="connsiteY8" fmla="*/ 2709528 h 2709528"/>
                <a:gd name="connsiteX9" fmla="*/ 11876 w 8241475"/>
                <a:gd name="connsiteY9" fmla="*/ 1676373 h 2709528"/>
                <a:gd name="connsiteX10" fmla="*/ 0 w 8241475"/>
                <a:gd name="connsiteY10" fmla="*/ 1498244 h 2709528"/>
                <a:gd name="connsiteX0" fmla="*/ 0 w 8241475"/>
                <a:gd name="connsiteY0" fmla="*/ 1498244 h 2709528"/>
                <a:gd name="connsiteX1" fmla="*/ 1520041 w 8241475"/>
                <a:gd name="connsiteY1" fmla="*/ 761974 h 2709528"/>
                <a:gd name="connsiteX2" fmla="*/ 2695699 w 8241475"/>
                <a:gd name="connsiteY2" fmla="*/ 1094484 h 2709528"/>
                <a:gd name="connsiteX3" fmla="*/ 3966358 w 8241475"/>
                <a:gd name="connsiteY3" fmla="*/ 13829 h 2709528"/>
                <a:gd name="connsiteX4" fmla="*/ 5569527 w 8241475"/>
                <a:gd name="connsiteY4" fmla="*/ 940104 h 2709528"/>
                <a:gd name="connsiteX5" fmla="*/ 6852062 w 8241475"/>
                <a:gd name="connsiteY5" fmla="*/ 263211 h 2709528"/>
                <a:gd name="connsiteX6" fmla="*/ 8241475 w 8241475"/>
                <a:gd name="connsiteY6" fmla="*/ 1415117 h 2709528"/>
                <a:gd name="connsiteX7" fmla="*/ 8241475 w 8241475"/>
                <a:gd name="connsiteY7" fmla="*/ 2068259 h 2709528"/>
                <a:gd name="connsiteX8" fmla="*/ 1769424 w 8241475"/>
                <a:gd name="connsiteY8" fmla="*/ 2709528 h 2709528"/>
                <a:gd name="connsiteX9" fmla="*/ 11876 w 8241475"/>
                <a:gd name="connsiteY9" fmla="*/ 1676373 h 2709528"/>
                <a:gd name="connsiteX10" fmla="*/ 0 w 8241475"/>
                <a:gd name="connsiteY10" fmla="*/ 1498244 h 2709528"/>
                <a:gd name="connsiteX0" fmla="*/ 0 w 8241475"/>
                <a:gd name="connsiteY0" fmla="*/ 1498244 h 2709528"/>
                <a:gd name="connsiteX1" fmla="*/ 1520041 w 8241475"/>
                <a:gd name="connsiteY1" fmla="*/ 761974 h 2709528"/>
                <a:gd name="connsiteX2" fmla="*/ 2695699 w 8241475"/>
                <a:gd name="connsiteY2" fmla="*/ 1094484 h 2709528"/>
                <a:gd name="connsiteX3" fmla="*/ 3966358 w 8241475"/>
                <a:gd name="connsiteY3" fmla="*/ 13829 h 2709528"/>
                <a:gd name="connsiteX4" fmla="*/ 5569527 w 8241475"/>
                <a:gd name="connsiteY4" fmla="*/ 940104 h 2709528"/>
                <a:gd name="connsiteX5" fmla="*/ 6852062 w 8241475"/>
                <a:gd name="connsiteY5" fmla="*/ 263211 h 2709528"/>
                <a:gd name="connsiteX6" fmla="*/ 8241475 w 8241475"/>
                <a:gd name="connsiteY6" fmla="*/ 1415117 h 2709528"/>
                <a:gd name="connsiteX7" fmla="*/ 8241475 w 8241475"/>
                <a:gd name="connsiteY7" fmla="*/ 2068259 h 2709528"/>
                <a:gd name="connsiteX8" fmla="*/ 1769424 w 8241475"/>
                <a:gd name="connsiteY8" fmla="*/ 2709528 h 2709528"/>
                <a:gd name="connsiteX9" fmla="*/ 11876 w 8241475"/>
                <a:gd name="connsiteY9" fmla="*/ 1676373 h 2709528"/>
                <a:gd name="connsiteX10" fmla="*/ 0 w 8241475"/>
                <a:gd name="connsiteY10" fmla="*/ 1498244 h 2709528"/>
                <a:gd name="connsiteX0" fmla="*/ 0 w 8241475"/>
                <a:gd name="connsiteY0" fmla="*/ 1498244 h 2709528"/>
                <a:gd name="connsiteX1" fmla="*/ 1520041 w 8241475"/>
                <a:gd name="connsiteY1" fmla="*/ 761974 h 2709528"/>
                <a:gd name="connsiteX2" fmla="*/ 2695699 w 8241475"/>
                <a:gd name="connsiteY2" fmla="*/ 1094484 h 2709528"/>
                <a:gd name="connsiteX3" fmla="*/ 3966358 w 8241475"/>
                <a:gd name="connsiteY3" fmla="*/ 13829 h 2709528"/>
                <a:gd name="connsiteX4" fmla="*/ 5569527 w 8241475"/>
                <a:gd name="connsiteY4" fmla="*/ 940104 h 2709528"/>
                <a:gd name="connsiteX5" fmla="*/ 6852062 w 8241475"/>
                <a:gd name="connsiteY5" fmla="*/ 263211 h 2709528"/>
                <a:gd name="connsiteX6" fmla="*/ 8241475 w 8241475"/>
                <a:gd name="connsiteY6" fmla="*/ 1415117 h 2709528"/>
                <a:gd name="connsiteX7" fmla="*/ 8241475 w 8241475"/>
                <a:gd name="connsiteY7" fmla="*/ 2068259 h 2709528"/>
                <a:gd name="connsiteX8" fmla="*/ 2850077 w 8241475"/>
                <a:gd name="connsiteY8" fmla="*/ 2614524 h 2709528"/>
                <a:gd name="connsiteX9" fmla="*/ 1769424 w 8241475"/>
                <a:gd name="connsiteY9" fmla="*/ 2709528 h 2709528"/>
                <a:gd name="connsiteX10" fmla="*/ 11876 w 8241475"/>
                <a:gd name="connsiteY10" fmla="*/ 1676373 h 2709528"/>
                <a:gd name="connsiteX11" fmla="*/ 0 w 8241475"/>
                <a:gd name="connsiteY11" fmla="*/ 1498244 h 2709528"/>
                <a:gd name="connsiteX0" fmla="*/ 0 w 8241475"/>
                <a:gd name="connsiteY0" fmla="*/ 1498244 h 2709528"/>
                <a:gd name="connsiteX1" fmla="*/ 1520041 w 8241475"/>
                <a:gd name="connsiteY1" fmla="*/ 761974 h 2709528"/>
                <a:gd name="connsiteX2" fmla="*/ 2695699 w 8241475"/>
                <a:gd name="connsiteY2" fmla="*/ 1094484 h 2709528"/>
                <a:gd name="connsiteX3" fmla="*/ 3966358 w 8241475"/>
                <a:gd name="connsiteY3" fmla="*/ 13829 h 2709528"/>
                <a:gd name="connsiteX4" fmla="*/ 5569527 w 8241475"/>
                <a:gd name="connsiteY4" fmla="*/ 940104 h 2709528"/>
                <a:gd name="connsiteX5" fmla="*/ 6852062 w 8241475"/>
                <a:gd name="connsiteY5" fmla="*/ 263211 h 2709528"/>
                <a:gd name="connsiteX6" fmla="*/ 8241475 w 8241475"/>
                <a:gd name="connsiteY6" fmla="*/ 1415117 h 2709528"/>
                <a:gd name="connsiteX7" fmla="*/ 8241475 w 8241475"/>
                <a:gd name="connsiteY7" fmla="*/ 2068259 h 2709528"/>
                <a:gd name="connsiteX8" fmla="*/ 2636322 w 8241475"/>
                <a:gd name="connsiteY8" fmla="*/ 2127635 h 2709528"/>
                <a:gd name="connsiteX9" fmla="*/ 1769424 w 8241475"/>
                <a:gd name="connsiteY9" fmla="*/ 2709528 h 2709528"/>
                <a:gd name="connsiteX10" fmla="*/ 11876 w 8241475"/>
                <a:gd name="connsiteY10" fmla="*/ 1676373 h 2709528"/>
                <a:gd name="connsiteX11" fmla="*/ 0 w 8241475"/>
                <a:gd name="connsiteY11" fmla="*/ 1498244 h 2709528"/>
                <a:gd name="connsiteX0" fmla="*/ 0 w 8241475"/>
                <a:gd name="connsiteY0" fmla="*/ 1498244 h 2709528"/>
                <a:gd name="connsiteX1" fmla="*/ 1520041 w 8241475"/>
                <a:gd name="connsiteY1" fmla="*/ 761974 h 2709528"/>
                <a:gd name="connsiteX2" fmla="*/ 2695699 w 8241475"/>
                <a:gd name="connsiteY2" fmla="*/ 1094484 h 2709528"/>
                <a:gd name="connsiteX3" fmla="*/ 3966358 w 8241475"/>
                <a:gd name="connsiteY3" fmla="*/ 13829 h 2709528"/>
                <a:gd name="connsiteX4" fmla="*/ 5569527 w 8241475"/>
                <a:gd name="connsiteY4" fmla="*/ 940104 h 2709528"/>
                <a:gd name="connsiteX5" fmla="*/ 6852062 w 8241475"/>
                <a:gd name="connsiteY5" fmla="*/ 263211 h 2709528"/>
                <a:gd name="connsiteX6" fmla="*/ 8241475 w 8241475"/>
                <a:gd name="connsiteY6" fmla="*/ 1415117 h 2709528"/>
                <a:gd name="connsiteX7" fmla="*/ 8241475 w 8241475"/>
                <a:gd name="connsiteY7" fmla="*/ 2068259 h 2709528"/>
                <a:gd name="connsiteX8" fmla="*/ 2636322 w 8241475"/>
                <a:gd name="connsiteY8" fmla="*/ 2127635 h 2709528"/>
                <a:gd name="connsiteX9" fmla="*/ 1769424 w 8241475"/>
                <a:gd name="connsiteY9" fmla="*/ 2709528 h 2709528"/>
                <a:gd name="connsiteX10" fmla="*/ 11876 w 8241475"/>
                <a:gd name="connsiteY10" fmla="*/ 1676373 h 2709528"/>
                <a:gd name="connsiteX11" fmla="*/ 0 w 8241475"/>
                <a:gd name="connsiteY11" fmla="*/ 1498244 h 2709528"/>
                <a:gd name="connsiteX0" fmla="*/ 0 w 8241475"/>
                <a:gd name="connsiteY0" fmla="*/ 1498244 h 3186175"/>
                <a:gd name="connsiteX1" fmla="*/ 1520041 w 8241475"/>
                <a:gd name="connsiteY1" fmla="*/ 761974 h 3186175"/>
                <a:gd name="connsiteX2" fmla="*/ 2695699 w 8241475"/>
                <a:gd name="connsiteY2" fmla="*/ 1094484 h 3186175"/>
                <a:gd name="connsiteX3" fmla="*/ 3966358 w 8241475"/>
                <a:gd name="connsiteY3" fmla="*/ 13829 h 3186175"/>
                <a:gd name="connsiteX4" fmla="*/ 5569527 w 8241475"/>
                <a:gd name="connsiteY4" fmla="*/ 940104 h 3186175"/>
                <a:gd name="connsiteX5" fmla="*/ 6852062 w 8241475"/>
                <a:gd name="connsiteY5" fmla="*/ 263211 h 3186175"/>
                <a:gd name="connsiteX6" fmla="*/ 8241475 w 8241475"/>
                <a:gd name="connsiteY6" fmla="*/ 1415117 h 3186175"/>
                <a:gd name="connsiteX7" fmla="*/ 8241475 w 8241475"/>
                <a:gd name="connsiteY7" fmla="*/ 2068259 h 3186175"/>
                <a:gd name="connsiteX8" fmla="*/ 2636322 w 8241475"/>
                <a:gd name="connsiteY8" fmla="*/ 2127635 h 3186175"/>
                <a:gd name="connsiteX9" fmla="*/ 1769424 w 8241475"/>
                <a:gd name="connsiteY9" fmla="*/ 2709528 h 3186175"/>
                <a:gd name="connsiteX10" fmla="*/ 11876 w 8241475"/>
                <a:gd name="connsiteY10" fmla="*/ 1676373 h 3186175"/>
                <a:gd name="connsiteX11" fmla="*/ 0 w 8241475"/>
                <a:gd name="connsiteY11" fmla="*/ 1498244 h 3186175"/>
                <a:gd name="connsiteX0" fmla="*/ 0 w 8241475"/>
                <a:gd name="connsiteY0" fmla="*/ 1498244 h 2720160"/>
                <a:gd name="connsiteX1" fmla="*/ 1520041 w 8241475"/>
                <a:gd name="connsiteY1" fmla="*/ 761974 h 2720160"/>
                <a:gd name="connsiteX2" fmla="*/ 2695699 w 8241475"/>
                <a:gd name="connsiteY2" fmla="*/ 1094484 h 2720160"/>
                <a:gd name="connsiteX3" fmla="*/ 3966358 w 8241475"/>
                <a:gd name="connsiteY3" fmla="*/ 13829 h 2720160"/>
                <a:gd name="connsiteX4" fmla="*/ 5569527 w 8241475"/>
                <a:gd name="connsiteY4" fmla="*/ 940104 h 2720160"/>
                <a:gd name="connsiteX5" fmla="*/ 6852062 w 8241475"/>
                <a:gd name="connsiteY5" fmla="*/ 263211 h 2720160"/>
                <a:gd name="connsiteX6" fmla="*/ 8241475 w 8241475"/>
                <a:gd name="connsiteY6" fmla="*/ 1415117 h 2720160"/>
                <a:gd name="connsiteX7" fmla="*/ 8241475 w 8241475"/>
                <a:gd name="connsiteY7" fmla="*/ 2068259 h 2720160"/>
                <a:gd name="connsiteX8" fmla="*/ 2636322 w 8241475"/>
                <a:gd name="connsiteY8" fmla="*/ 2127635 h 2720160"/>
                <a:gd name="connsiteX9" fmla="*/ 1769424 w 8241475"/>
                <a:gd name="connsiteY9" fmla="*/ 2709528 h 2720160"/>
                <a:gd name="connsiteX10" fmla="*/ 11876 w 8241475"/>
                <a:gd name="connsiteY10" fmla="*/ 1676373 h 2720160"/>
                <a:gd name="connsiteX11" fmla="*/ 0 w 8241475"/>
                <a:gd name="connsiteY11" fmla="*/ 1498244 h 2720160"/>
                <a:gd name="connsiteX0" fmla="*/ 0 w 8241475"/>
                <a:gd name="connsiteY0" fmla="*/ 1498244 h 2717044"/>
                <a:gd name="connsiteX1" fmla="*/ 1520041 w 8241475"/>
                <a:gd name="connsiteY1" fmla="*/ 761974 h 2717044"/>
                <a:gd name="connsiteX2" fmla="*/ 2695699 w 8241475"/>
                <a:gd name="connsiteY2" fmla="*/ 1094484 h 2717044"/>
                <a:gd name="connsiteX3" fmla="*/ 3966358 w 8241475"/>
                <a:gd name="connsiteY3" fmla="*/ 13829 h 2717044"/>
                <a:gd name="connsiteX4" fmla="*/ 5569527 w 8241475"/>
                <a:gd name="connsiteY4" fmla="*/ 940104 h 2717044"/>
                <a:gd name="connsiteX5" fmla="*/ 6852062 w 8241475"/>
                <a:gd name="connsiteY5" fmla="*/ 263211 h 2717044"/>
                <a:gd name="connsiteX6" fmla="*/ 8241475 w 8241475"/>
                <a:gd name="connsiteY6" fmla="*/ 1415117 h 2717044"/>
                <a:gd name="connsiteX7" fmla="*/ 8241475 w 8241475"/>
                <a:gd name="connsiteY7" fmla="*/ 2068259 h 2717044"/>
                <a:gd name="connsiteX8" fmla="*/ 2719449 w 8241475"/>
                <a:gd name="connsiteY8" fmla="*/ 2139511 h 2717044"/>
                <a:gd name="connsiteX9" fmla="*/ 1769424 w 8241475"/>
                <a:gd name="connsiteY9" fmla="*/ 2709528 h 2717044"/>
                <a:gd name="connsiteX10" fmla="*/ 11876 w 8241475"/>
                <a:gd name="connsiteY10" fmla="*/ 1676373 h 2717044"/>
                <a:gd name="connsiteX11" fmla="*/ 0 w 8241475"/>
                <a:gd name="connsiteY11" fmla="*/ 1498244 h 2717044"/>
                <a:gd name="connsiteX0" fmla="*/ 0 w 8241475"/>
                <a:gd name="connsiteY0" fmla="*/ 1498244 h 2714853"/>
                <a:gd name="connsiteX1" fmla="*/ 1520041 w 8241475"/>
                <a:gd name="connsiteY1" fmla="*/ 761974 h 2714853"/>
                <a:gd name="connsiteX2" fmla="*/ 2695699 w 8241475"/>
                <a:gd name="connsiteY2" fmla="*/ 1094484 h 2714853"/>
                <a:gd name="connsiteX3" fmla="*/ 3966358 w 8241475"/>
                <a:gd name="connsiteY3" fmla="*/ 13829 h 2714853"/>
                <a:gd name="connsiteX4" fmla="*/ 5569527 w 8241475"/>
                <a:gd name="connsiteY4" fmla="*/ 940104 h 2714853"/>
                <a:gd name="connsiteX5" fmla="*/ 6852062 w 8241475"/>
                <a:gd name="connsiteY5" fmla="*/ 263211 h 2714853"/>
                <a:gd name="connsiteX6" fmla="*/ 8241475 w 8241475"/>
                <a:gd name="connsiteY6" fmla="*/ 1415117 h 2714853"/>
                <a:gd name="connsiteX7" fmla="*/ 8241475 w 8241475"/>
                <a:gd name="connsiteY7" fmla="*/ 2068259 h 2714853"/>
                <a:gd name="connsiteX8" fmla="*/ 2719449 w 8241475"/>
                <a:gd name="connsiteY8" fmla="*/ 2139511 h 2714853"/>
                <a:gd name="connsiteX9" fmla="*/ 1769424 w 8241475"/>
                <a:gd name="connsiteY9" fmla="*/ 2709528 h 2714853"/>
                <a:gd name="connsiteX10" fmla="*/ 11876 w 8241475"/>
                <a:gd name="connsiteY10" fmla="*/ 1676373 h 2714853"/>
                <a:gd name="connsiteX11" fmla="*/ 0 w 8241475"/>
                <a:gd name="connsiteY11" fmla="*/ 1498244 h 2714853"/>
                <a:gd name="connsiteX0" fmla="*/ 0 w 8241475"/>
                <a:gd name="connsiteY0" fmla="*/ 1498244 h 3154075"/>
                <a:gd name="connsiteX1" fmla="*/ 1520041 w 8241475"/>
                <a:gd name="connsiteY1" fmla="*/ 761974 h 3154075"/>
                <a:gd name="connsiteX2" fmla="*/ 2695699 w 8241475"/>
                <a:gd name="connsiteY2" fmla="*/ 1094484 h 3154075"/>
                <a:gd name="connsiteX3" fmla="*/ 3966358 w 8241475"/>
                <a:gd name="connsiteY3" fmla="*/ 13829 h 3154075"/>
                <a:gd name="connsiteX4" fmla="*/ 5569527 w 8241475"/>
                <a:gd name="connsiteY4" fmla="*/ 940104 h 3154075"/>
                <a:gd name="connsiteX5" fmla="*/ 6852062 w 8241475"/>
                <a:gd name="connsiteY5" fmla="*/ 263211 h 3154075"/>
                <a:gd name="connsiteX6" fmla="*/ 8241475 w 8241475"/>
                <a:gd name="connsiteY6" fmla="*/ 1415117 h 3154075"/>
                <a:gd name="connsiteX7" fmla="*/ 8241475 w 8241475"/>
                <a:gd name="connsiteY7" fmla="*/ 2068259 h 3154075"/>
                <a:gd name="connsiteX8" fmla="*/ 2719449 w 8241475"/>
                <a:gd name="connsiteY8" fmla="*/ 2139511 h 3154075"/>
                <a:gd name="connsiteX9" fmla="*/ 1769424 w 8241475"/>
                <a:gd name="connsiteY9" fmla="*/ 2709528 h 3154075"/>
                <a:gd name="connsiteX10" fmla="*/ 11876 w 8241475"/>
                <a:gd name="connsiteY10" fmla="*/ 1676373 h 3154075"/>
                <a:gd name="connsiteX11" fmla="*/ 0 w 8241475"/>
                <a:gd name="connsiteY11" fmla="*/ 1498244 h 3154075"/>
                <a:gd name="connsiteX0" fmla="*/ 0 w 8241475"/>
                <a:gd name="connsiteY0" fmla="*/ 1498244 h 2766240"/>
                <a:gd name="connsiteX1" fmla="*/ 1520041 w 8241475"/>
                <a:gd name="connsiteY1" fmla="*/ 761974 h 2766240"/>
                <a:gd name="connsiteX2" fmla="*/ 2695699 w 8241475"/>
                <a:gd name="connsiteY2" fmla="*/ 1094484 h 2766240"/>
                <a:gd name="connsiteX3" fmla="*/ 3966358 w 8241475"/>
                <a:gd name="connsiteY3" fmla="*/ 13829 h 2766240"/>
                <a:gd name="connsiteX4" fmla="*/ 5569527 w 8241475"/>
                <a:gd name="connsiteY4" fmla="*/ 940104 h 2766240"/>
                <a:gd name="connsiteX5" fmla="*/ 6852062 w 8241475"/>
                <a:gd name="connsiteY5" fmla="*/ 263211 h 2766240"/>
                <a:gd name="connsiteX6" fmla="*/ 8241475 w 8241475"/>
                <a:gd name="connsiteY6" fmla="*/ 1415117 h 2766240"/>
                <a:gd name="connsiteX7" fmla="*/ 8241475 w 8241475"/>
                <a:gd name="connsiteY7" fmla="*/ 2068259 h 2766240"/>
                <a:gd name="connsiteX8" fmla="*/ 2719449 w 8241475"/>
                <a:gd name="connsiteY8" fmla="*/ 2139511 h 2766240"/>
                <a:gd name="connsiteX9" fmla="*/ 1769424 w 8241475"/>
                <a:gd name="connsiteY9" fmla="*/ 2709528 h 2766240"/>
                <a:gd name="connsiteX10" fmla="*/ 11876 w 8241475"/>
                <a:gd name="connsiteY10" fmla="*/ 1676373 h 2766240"/>
                <a:gd name="connsiteX11" fmla="*/ 0 w 8241475"/>
                <a:gd name="connsiteY11" fmla="*/ 1498244 h 2766240"/>
                <a:gd name="connsiteX0" fmla="*/ 0 w 8241475"/>
                <a:gd name="connsiteY0" fmla="*/ 1498244 h 2139511"/>
                <a:gd name="connsiteX1" fmla="*/ 1520041 w 8241475"/>
                <a:gd name="connsiteY1" fmla="*/ 761974 h 2139511"/>
                <a:gd name="connsiteX2" fmla="*/ 2695699 w 8241475"/>
                <a:gd name="connsiteY2" fmla="*/ 1094484 h 2139511"/>
                <a:gd name="connsiteX3" fmla="*/ 3966358 w 8241475"/>
                <a:gd name="connsiteY3" fmla="*/ 13829 h 2139511"/>
                <a:gd name="connsiteX4" fmla="*/ 5569527 w 8241475"/>
                <a:gd name="connsiteY4" fmla="*/ 940104 h 2139511"/>
                <a:gd name="connsiteX5" fmla="*/ 6852062 w 8241475"/>
                <a:gd name="connsiteY5" fmla="*/ 263211 h 2139511"/>
                <a:gd name="connsiteX6" fmla="*/ 8241475 w 8241475"/>
                <a:gd name="connsiteY6" fmla="*/ 1415117 h 2139511"/>
                <a:gd name="connsiteX7" fmla="*/ 8241475 w 8241475"/>
                <a:gd name="connsiteY7" fmla="*/ 2068259 h 2139511"/>
                <a:gd name="connsiteX8" fmla="*/ 2719449 w 8241475"/>
                <a:gd name="connsiteY8" fmla="*/ 2139511 h 2139511"/>
                <a:gd name="connsiteX9" fmla="*/ 1163783 w 8241475"/>
                <a:gd name="connsiteY9" fmla="*/ 1997009 h 2139511"/>
                <a:gd name="connsiteX10" fmla="*/ 11876 w 8241475"/>
                <a:gd name="connsiteY10" fmla="*/ 1676373 h 2139511"/>
                <a:gd name="connsiteX11" fmla="*/ 0 w 8241475"/>
                <a:gd name="connsiteY11" fmla="*/ 1498244 h 2139511"/>
                <a:gd name="connsiteX0" fmla="*/ 0 w 8241475"/>
                <a:gd name="connsiteY0" fmla="*/ 1498244 h 2369347"/>
                <a:gd name="connsiteX1" fmla="*/ 1520041 w 8241475"/>
                <a:gd name="connsiteY1" fmla="*/ 761974 h 2369347"/>
                <a:gd name="connsiteX2" fmla="*/ 2695699 w 8241475"/>
                <a:gd name="connsiteY2" fmla="*/ 1094484 h 2369347"/>
                <a:gd name="connsiteX3" fmla="*/ 3966358 w 8241475"/>
                <a:gd name="connsiteY3" fmla="*/ 13829 h 2369347"/>
                <a:gd name="connsiteX4" fmla="*/ 5569527 w 8241475"/>
                <a:gd name="connsiteY4" fmla="*/ 940104 h 2369347"/>
                <a:gd name="connsiteX5" fmla="*/ 6852062 w 8241475"/>
                <a:gd name="connsiteY5" fmla="*/ 263211 h 2369347"/>
                <a:gd name="connsiteX6" fmla="*/ 8241475 w 8241475"/>
                <a:gd name="connsiteY6" fmla="*/ 1415117 h 2369347"/>
                <a:gd name="connsiteX7" fmla="*/ 8241475 w 8241475"/>
                <a:gd name="connsiteY7" fmla="*/ 2068259 h 2369347"/>
                <a:gd name="connsiteX8" fmla="*/ 2719449 w 8241475"/>
                <a:gd name="connsiteY8" fmla="*/ 2139511 h 2369347"/>
                <a:gd name="connsiteX9" fmla="*/ 1163783 w 8241475"/>
                <a:gd name="connsiteY9" fmla="*/ 1997009 h 2369347"/>
                <a:gd name="connsiteX10" fmla="*/ 11876 w 8241475"/>
                <a:gd name="connsiteY10" fmla="*/ 1676373 h 2369347"/>
                <a:gd name="connsiteX11" fmla="*/ 0 w 8241475"/>
                <a:gd name="connsiteY11" fmla="*/ 1498244 h 2369347"/>
                <a:gd name="connsiteX0" fmla="*/ 0 w 8241475"/>
                <a:gd name="connsiteY0" fmla="*/ 1498244 h 2628974"/>
                <a:gd name="connsiteX1" fmla="*/ 1520041 w 8241475"/>
                <a:gd name="connsiteY1" fmla="*/ 761974 h 2628974"/>
                <a:gd name="connsiteX2" fmla="*/ 2695699 w 8241475"/>
                <a:gd name="connsiteY2" fmla="*/ 1094484 h 2628974"/>
                <a:gd name="connsiteX3" fmla="*/ 3966358 w 8241475"/>
                <a:gd name="connsiteY3" fmla="*/ 13829 h 2628974"/>
                <a:gd name="connsiteX4" fmla="*/ 5569527 w 8241475"/>
                <a:gd name="connsiteY4" fmla="*/ 940104 h 2628974"/>
                <a:gd name="connsiteX5" fmla="*/ 6852062 w 8241475"/>
                <a:gd name="connsiteY5" fmla="*/ 263211 h 2628974"/>
                <a:gd name="connsiteX6" fmla="*/ 8241475 w 8241475"/>
                <a:gd name="connsiteY6" fmla="*/ 1415117 h 2628974"/>
                <a:gd name="connsiteX7" fmla="*/ 8241475 w 8241475"/>
                <a:gd name="connsiteY7" fmla="*/ 2068259 h 2628974"/>
                <a:gd name="connsiteX8" fmla="*/ 2719449 w 8241475"/>
                <a:gd name="connsiteY8" fmla="*/ 2139511 h 2628974"/>
                <a:gd name="connsiteX9" fmla="*/ 1425041 w 8241475"/>
                <a:gd name="connsiteY9" fmla="*/ 2329518 h 2628974"/>
                <a:gd name="connsiteX10" fmla="*/ 11876 w 8241475"/>
                <a:gd name="connsiteY10" fmla="*/ 1676373 h 2628974"/>
                <a:gd name="connsiteX11" fmla="*/ 0 w 8241475"/>
                <a:gd name="connsiteY11" fmla="*/ 1498244 h 2628974"/>
                <a:gd name="connsiteX0" fmla="*/ 0 w 8241475"/>
                <a:gd name="connsiteY0" fmla="*/ 1498244 h 2685419"/>
                <a:gd name="connsiteX1" fmla="*/ 1520041 w 8241475"/>
                <a:gd name="connsiteY1" fmla="*/ 761974 h 2685419"/>
                <a:gd name="connsiteX2" fmla="*/ 2695699 w 8241475"/>
                <a:gd name="connsiteY2" fmla="*/ 1094484 h 2685419"/>
                <a:gd name="connsiteX3" fmla="*/ 3966358 w 8241475"/>
                <a:gd name="connsiteY3" fmla="*/ 13829 h 2685419"/>
                <a:gd name="connsiteX4" fmla="*/ 5569527 w 8241475"/>
                <a:gd name="connsiteY4" fmla="*/ 940104 h 2685419"/>
                <a:gd name="connsiteX5" fmla="*/ 6852062 w 8241475"/>
                <a:gd name="connsiteY5" fmla="*/ 263211 h 2685419"/>
                <a:gd name="connsiteX6" fmla="*/ 8241475 w 8241475"/>
                <a:gd name="connsiteY6" fmla="*/ 1415117 h 2685419"/>
                <a:gd name="connsiteX7" fmla="*/ 8241475 w 8241475"/>
                <a:gd name="connsiteY7" fmla="*/ 2068259 h 2685419"/>
                <a:gd name="connsiteX8" fmla="*/ 2719449 w 8241475"/>
                <a:gd name="connsiteY8" fmla="*/ 2139511 h 2685419"/>
                <a:gd name="connsiteX9" fmla="*/ 1425041 w 8241475"/>
                <a:gd name="connsiteY9" fmla="*/ 2329518 h 2685419"/>
                <a:gd name="connsiteX10" fmla="*/ 11876 w 8241475"/>
                <a:gd name="connsiteY10" fmla="*/ 1676373 h 2685419"/>
                <a:gd name="connsiteX11" fmla="*/ 0 w 8241475"/>
                <a:gd name="connsiteY11" fmla="*/ 1498244 h 2685419"/>
                <a:gd name="connsiteX0" fmla="*/ 0 w 8241475"/>
                <a:gd name="connsiteY0" fmla="*/ 1498244 h 2734139"/>
                <a:gd name="connsiteX1" fmla="*/ 1520041 w 8241475"/>
                <a:gd name="connsiteY1" fmla="*/ 761974 h 2734139"/>
                <a:gd name="connsiteX2" fmla="*/ 2695699 w 8241475"/>
                <a:gd name="connsiteY2" fmla="*/ 1094484 h 2734139"/>
                <a:gd name="connsiteX3" fmla="*/ 3966358 w 8241475"/>
                <a:gd name="connsiteY3" fmla="*/ 13829 h 2734139"/>
                <a:gd name="connsiteX4" fmla="*/ 5569527 w 8241475"/>
                <a:gd name="connsiteY4" fmla="*/ 940104 h 2734139"/>
                <a:gd name="connsiteX5" fmla="*/ 6852062 w 8241475"/>
                <a:gd name="connsiteY5" fmla="*/ 263211 h 2734139"/>
                <a:gd name="connsiteX6" fmla="*/ 8241475 w 8241475"/>
                <a:gd name="connsiteY6" fmla="*/ 1415117 h 2734139"/>
                <a:gd name="connsiteX7" fmla="*/ 8241475 w 8241475"/>
                <a:gd name="connsiteY7" fmla="*/ 2068259 h 2734139"/>
                <a:gd name="connsiteX8" fmla="*/ 2719449 w 8241475"/>
                <a:gd name="connsiteY8" fmla="*/ 2139511 h 2734139"/>
                <a:gd name="connsiteX9" fmla="*/ 1413166 w 8241475"/>
                <a:gd name="connsiteY9" fmla="*/ 2388895 h 2734139"/>
                <a:gd name="connsiteX10" fmla="*/ 11876 w 8241475"/>
                <a:gd name="connsiteY10" fmla="*/ 1676373 h 2734139"/>
                <a:gd name="connsiteX11" fmla="*/ 0 w 8241475"/>
                <a:gd name="connsiteY11" fmla="*/ 1498244 h 2734139"/>
                <a:gd name="connsiteX0" fmla="*/ 0 w 8241475"/>
                <a:gd name="connsiteY0" fmla="*/ 1498244 h 2683311"/>
                <a:gd name="connsiteX1" fmla="*/ 1520041 w 8241475"/>
                <a:gd name="connsiteY1" fmla="*/ 761974 h 2683311"/>
                <a:gd name="connsiteX2" fmla="*/ 2695699 w 8241475"/>
                <a:gd name="connsiteY2" fmla="*/ 1094484 h 2683311"/>
                <a:gd name="connsiteX3" fmla="*/ 3966358 w 8241475"/>
                <a:gd name="connsiteY3" fmla="*/ 13829 h 2683311"/>
                <a:gd name="connsiteX4" fmla="*/ 5569527 w 8241475"/>
                <a:gd name="connsiteY4" fmla="*/ 940104 h 2683311"/>
                <a:gd name="connsiteX5" fmla="*/ 6852062 w 8241475"/>
                <a:gd name="connsiteY5" fmla="*/ 263211 h 2683311"/>
                <a:gd name="connsiteX6" fmla="*/ 8241475 w 8241475"/>
                <a:gd name="connsiteY6" fmla="*/ 1415117 h 2683311"/>
                <a:gd name="connsiteX7" fmla="*/ 8241475 w 8241475"/>
                <a:gd name="connsiteY7" fmla="*/ 2068259 h 2683311"/>
                <a:gd name="connsiteX8" fmla="*/ 2719449 w 8241475"/>
                <a:gd name="connsiteY8" fmla="*/ 2139511 h 2683311"/>
                <a:gd name="connsiteX9" fmla="*/ 1413166 w 8241475"/>
                <a:gd name="connsiteY9" fmla="*/ 2388895 h 2683311"/>
                <a:gd name="connsiteX10" fmla="*/ 11876 w 8241475"/>
                <a:gd name="connsiteY10" fmla="*/ 1676373 h 2683311"/>
                <a:gd name="connsiteX11" fmla="*/ 0 w 8241475"/>
                <a:gd name="connsiteY11" fmla="*/ 1498244 h 2683311"/>
                <a:gd name="connsiteX0" fmla="*/ 0 w 8241475"/>
                <a:gd name="connsiteY0" fmla="*/ 1498244 h 2683311"/>
                <a:gd name="connsiteX1" fmla="*/ 1520041 w 8241475"/>
                <a:gd name="connsiteY1" fmla="*/ 761974 h 2683311"/>
                <a:gd name="connsiteX2" fmla="*/ 2695699 w 8241475"/>
                <a:gd name="connsiteY2" fmla="*/ 1094484 h 2683311"/>
                <a:gd name="connsiteX3" fmla="*/ 3966358 w 8241475"/>
                <a:gd name="connsiteY3" fmla="*/ 13829 h 2683311"/>
                <a:gd name="connsiteX4" fmla="*/ 5569527 w 8241475"/>
                <a:gd name="connsiteY4" fmla="*/ 940104 h 2683311"/>
                <a:gd name="connsiteX5" fmla="*/ 6852062 w 8241475"/>
                <a:gd name="connsiteY5" fmla="*/ 263211 h 2683311"/>
                <a:gd name="connsiteX6" fmla="*/ 8241475 w 8241475"/>
                <a:gd name="connsiteY6" fmla="*/ 1415117 h 2683311"/>
                <a:gd name="connsiteX7" fmla="*/ 8241475 w 8241475"/>
                <a:gd name="connsiteY7" fmla="*/ 2068259 h 2683311"/>
                <a:gd name="connsiteX8" fmla="*/ 4049485 w 8241475"/>
                <a:gd name="connsiteY8" fmla="*/ 2115761 h 2683311"/>
                <a:gd name="connsiteX9" fmla="*/ 2719449 w 8241475"/>
                <a:gd name="connsiteY9" fmla="*/ 2139511 h 2683311"/>
                <a:gd name="connsiteX10" fmla="*/ 1413166 w 8241475"/>
                <a:gd name="connsiteY10" fmla="*/ 2388895 h 2683311"/>
                <a:gd name="connsiteX11" fmla="*/ 11876 w 8241475"/>
                <a:gd name="connsiteY11" fmla="*/ 1676373 h 2683311"/>
                <a:gd name="connsiteX12" fmla="*/ 0 w 8241475"/>
                <a:gd name="connsiteY12" fmla="*/ 1498244 h 2683311"/>
                <a:gd name="connsiteX0" fmla="*/ 0 w 8241475"/>
                <a:gd name="connsiteY0" fmla="*/ 1498244 h 3184540"/>
                <a:gd name="connsiteX1" fmla="*/ 1520041 w 8241475"/>
                <a:gd name="connsiteY1" fmla="*/ 761974 h 3184540"/>
                <a:gd name="connsiteX2" fmla="*/ 2695699 w 8241475"/>
                <a:gd name="connsiteY2" fmla="*/ 1094484 h 3184540"/>
                <a:gd name="connsiteX3" fmla="*/ 3966358 w 8241475"/>
                <a:gd name="connsiteY3" fmla="*/ 13829 h 3184540"/>
                <a:gd name="connsiteX4" fmla="*/ 5569527 w 8241475"/>
                <a:gd name="connsiteY4" fmla="*/ 940104 h 3184540"/>
                <a:gd name="connsiteX5" fmla="*/ 6852062 w 8241475"/>
                <a:gd name="connsiteY5" fmla="*/ 263211 h 3184540"/>
                <a:gd name="connsiteX6" fmla="*/ 8241475 w 8241475"/>
                <a:gd name="connsiteY6" fmla="*/ 1415117 h 3184540"/>
                <a:gd name="connsiteX7" fmla="*/ 8241475 w 8241475"/>
                <a:gd name="connsiteY7" fmla="*/ 2068259 h 3184540"/>
                <a:gd name="connsiteX8" fmla="*/ 3942607 w 8241475"/>
                <a:gd name="connsiteY8" fmla="*/ 3184540 h 3184540"/>
                <a:gd name="connsiteX9" fmla="*/ 2719449 w 8241475"/>
                <a:gd name="connsiteY9" fmla="*/ 2139511 h 3184540"/>
                <a:gd name="connsiteX10" fmla="*/ 1413166 w 8241475"/>
                <a:gd name="connsiteY10" fmla="*/ 2388895 h 3184540"/>
                <a:gd name="connsiteX11" fmla="*/ 11876 w 8241475"/>
                <a:gd name="connsiteY11" fmla="*/ 1676373 h 3184540"/>
                <a:gd name="connsiteX12" fmla="*/ 0 w 8241475"/>
                <a:gd name="connsiteY12" fmla="*/ 1498244 h 3184540"/>
                <a:gd name="connsiteX0" fmla="*/ 0 w 8241475"/>
                <a:gd name="connsiteY0" fmla="*/ 1498244 h 3184540"/>
                <a:gd name="connsiteX1" fmla="*/ 1520041 w 8241475"/>
                <a:gd name="connsiteY1" fmla="*/ 761974 h 3184540"/>
                <a:gd name="connsiteX2" fmla="*/ 2695699 w 8241475"/>
                <a:gd name="connsiteY2" fmla="*/ 1094484 h 3184540"/>
                <a:gd name="connsiteX3" fmla="*/ 3966358 w 8241475"/>
                <a:gd name="connsiteY3" fmla="*/ 13829 h 3184540"/>
                <a:gd name="connsiteX4" fmla="*/ 5569527 w 8241475"/>
                <a:gd name="connsiteY4" fmla="*/ 940104 h 3184540"/>
                <a:gd name="connsiteX5" fmla="*/ 6852062 w 8241475"/>
                <a:gd name="connsiteY5" fmla="*/ 263211 h 3184540"/>
                <a:gd name="connsiteX6" fmla="*/ 8241475 w 8241475"/>
                <a:gd name="connsiteY6" fmla="*/ 1415117 h 3184540"/>
                <a:gd name="connsiteX7" fmla="*/ 8241475 w 8241475"/>
                <a:gd name="connsiteY7" fmla="*/ 2068259 h 3184540"/>
                <a:gd name="connsiteX8" fmla="*/ 3942607 w 8241475"/>
                <a:gd name="connsiteY8" fmla="*/ 3184540 h 3184540"/>
                <a:gd name="connsiteX9" fmla="*/ 2719449 w 8241475"/>
                <a:gd name="connsiteY9" fmla="*/ 2139511 h 3184540"/>
                <a:gd name="connsiteX10" fmla="*/ 1413166 w 8241475"/>
                <a:gd name="connsiteY10" fmla="*/ 2388895 h 3184540"/>
                <a:gd name="connsiteX11" fmla="*/ 11876 w 8241475"/>
                <a:gd name="connsiteY11" fmla="*/ 1676373 h 3184540"/>
                <a:gd name="connsiteX12" fmla="*/ 0 w 8241475"/>
                <a:gd name="connsiteY12" fmla="*/ 1498244 h 3184540"/>
                <a:gd name="connsiteX0" fmla="*/ 0 w 8241475"/>
                <a:gd name="connsiteY0" fmla="*/ 1498244 h 3184540"/>
                <a:gd name="connsiteX1" fmla="*/ 1520041 w 8241475"/>
                <a:gd name="connsiteY1" fmla="*/ 761974 h 3184540"/>
                <a:gd name="connsiteX2" fmla="*/ 2695699 w 8241475"/>
                <a:gd name="connsiteY2" fmla="*/ 1094484 h 3184540"/>
                <a:gd name="connsiteX3" fmla="*/ 3966358 w 8241475"/>
                <a:gd name="connsiteY3" fmla="*/ 13829 h 3184540"/>
                <a:gd name="connsiteX4" fmla="*/ 5569527 w 8241475"/>
                <a:gd name="connsiteY4" fmla="*/ 940104 h 3184540"/>
                <a:gd name="connsiteX5" fmla="*/ 6852062 w 8241475"/>
                <a:gd name="connsiteY5" fmla="*/ 263211 h 3184540"/>
                <a:gd name="connsiteX6" fmla="*/ 8241475 w 8241475"/>
                <a:gd name="connsiteY6" fmla="*/ 1415117 h 3184540"/>
                <a:gd name="connsiteX7" fmla="*/ 8241475 w 8241475"/>
                <a:gd name="connsiteY7" fmla="*/ 2068259 h 3184540"/>
                <a:gd name="connsiteX8" fmla="*/ 3942607 w 8241475"/>
                <a:gd name="connsiteY8" fmla="*/ 3184540 h 3184540"/>
                <a:gd name="connsiteX9" fmla="*/ 2719449 w 8241475"/>
                <a:gd name="connsiteY9" fmla="*/ 2139511 h 3184540"/>
                <a:gd name="connsiteX10" fmla="*/ 1413166 w 8241475"/>
                <a:gd name="connsiteY10" fmla="*/ 2388895 h 3184540"/>
                <a:gd name="connsiteX11" fmla="*/ 11876 w 8241475"/>
                <a:gd name="connsiteY11" fmla="*/ 1676373 h 3184540"/>
                <a:gd name="connsiteX12" fmla="*/ 0 w 8241475"/>
                <a:gd name="connsiteY12" fmla="*/ 1498244 h 3184540"/>
                <a:gd name="connsiteX0" fmla="*/ 0 w 8241475"/>
                <a:gd name="connsiteY0" fmla="*/ 1498244 h 3184540"/>
                <a:gd name="connsiteX1" fmla="*/ 1520041 w 8241475"/>
                <a:gd name="connsiteY1" fmla="*/ 761974 h 3184540"/>
                <a:gd name="connsiteX2" fmla="*/ 2695699 w 8241475"/>
                <a:gd name="connsiteY2" fmla="*/ 1094484 h 3184540"/>
                <a:gd name="connsiteX3" fmla="*/ 3966358 w 8241475"/>
                <a:gd name="connsiteY3" fmla="*/ 13829 h 3184540"/>
                <a:gd name="connsiteX4" fmla="*/ 5569527 w 8241475"/>
                <a:gd name="connsiteY4" fmla="*/ 940104 h 3184540"/>
                <a:gd name="connsiteX5" fmla="*/ 6852062 w 8241475"/>
                <a:gd name="connsiteY5" fmla="*/ 263211 h 3184540"/>
                <a:gd name="connsiteX6" fmla="*/ 8241475 w 8241475"/>
                <a:gd name="connsiteY6" fmla="*/ 1415117 h 3184540"/>
                <a:gd name="connsiteX7" fmla="*/ 8241475 w 8241475"/>
                <a:gd name="connsiteY7" fmla="*/ 2068259 h 3184540"/>
                <a:gd name="connsiteX8" fmla="*/ 5403272 w 8241475"/>
                <a:gd name="connsiteY8" fmla="*/ 2816404 h 3184540"/>
                <a:gd name="connsiteX9" fmla="*/ 3942607 w 8241475"/>
                <a:gd name="connsiteY9" fmla="*/ 3184540 h 3184540"/>
                <a:gd name="connsiteX10" fmla="*/ 2719449 w 8241475"/>
                <a:gd name="connsiteY10" fmla="*/ 2139511 h 3184540"/>
                <a:gd name="connsiteX11" fmla="*/ 1413166 w 8241475"/>
                <a:gd name="connsiteY11" fmla="*/ 2388895 h 3184540"/>
                <a:gd name="connsiteX12" fmla="*/ 11876 w 8241475"/>
                <a:gd name="connsiteY12" fmla="*/ 1676373 h 3184540"/>
                <a:gd name="connsiteX13" fmla="*/ 0 w 8241475"/>
                <a:gd name="connsiteY13" fmla="*/ 1498244 h 3184540"/>
                <a:gd name="connsiteX0" fmla="*/ 0 w 8241475"/>
                <a:gd name="connsiteY0" fmla="*/ 1498244 h 3184540"/>
                <a:gd name="connsiteX1" fmla="*/ 1520041 w 8241475"/>
                <a:gd name="connsiteY1" fmla="*/ 761974 h 3184540"/>
                <a:gd name="connsiteX2" fmla="*/ 2695699 w 8241475"/>
                <a:gd name="connsiteY2" fmla="*/ 1094484 h 3184540"/>
                <a:gd name="connsiteX3" fmla="*/ 3966358 w 8241475"/>
                <a:gd name="connsiteY3" fmla="*/ 13829 h 3184540"/>
                <a:gd name="connsiteX4" fmla="*/ 5569527 w 8241475"/>
                <a:gd name="connsiteY4" fmla="*/ 940104 h 3184540"/>
                <a:gd name="connsiteX5" fmla="*/ 6852062 w 8241475"/>
                <a:gd name="connsiteY5" fmla="*/ 263211 h 3184540"/>
                <a:gd name="connsiteX6" fmla="*/ 8241475 w 8241475"/>
                <a:gd name="connsiteY6" fmla="*/ 1415117 h 3184540"/>
                <a:gd name="connsiteX7" fmla="*/ 8241475 w 8241475"/>
                <a:gd name="connsiteY7" fmla="*/ 2068259 h 3184540"/>
                <a:gd name="connsiteX8" fmla="*/ 5522025 w 8241475"/>
                <a:gd name="connsiteY8" fmla="*/ 2329516 h 3184540"/>
                <a:gd name="connsiteX9" fmla="*/ 3942607 w 8241475"/>
                <a:gd name="connsiteY9" fmla="*/ 3184540 h 3184540"/>
                <a:gd name="connsiteX10" fmla="*/ 2719449 w 8241475"/>
                <a:gd name="connsiteY10" fmla="*/ 2139511 h 3184540"/>
                <a:gd name="connsiteX11" fmla="*/ 1413166 w 8241475"/>
                <a:gd name="connsiteY11" fmla="*/ 2388895 h 3184540"/>
                <a:gd name="connsiteX12" fmla="*/ 11876 w 8241475"/>
                <a:gd name="connsiteY12" fmla="*/ 1676373 h 3184540"/>
                <a:gd name="connsiteX13" fmla="*/ 0 w 8241475"/>
                <a:gd name="connsiteY13" fmla="*/ 1498244 h 3184540"/>
                <a:gd name="connsiteX0" fmla="*/ 0 w 8241475"/>
                <a:gd name="connsiteY0" fmla="*/ 1498244 h 3211623"/>
                <a:gd name="connsiteX1" fmla="*/ 1520041 w 8241475"/>
                <a:gd name="connsiteY1" fmla="*/ 761974 h 3211623"/>
                <a:gd name="connsiteX2" fmla="*/ 2695699 w 8241475"/>
                <a:gd name="connsiteY2" fmla="*/ 1094484 h 3211623"/>
                <a:gd name="connsiteX3" fmla="*/ 3966358 w 8241475"/>
                <a:gd name="connsiteY3" fmla="*/ 13829 h 3211623"/>
                <a:gd name="connsiteX4" fmla="*/ 5569527 w 8241475"/>
                <a:gd name="connsiteY4" fmla="*/ 940104 h 3211623"/>
                <a:gd name="connsiteX5" fmla="*/ 6852062 w 8241475"/>
                <a:gd name="connsiteY5" fmla="*/ 263211 h 3211623"/>
                <a:gd name="connsiteX6" fmla="*/ 8241475 w 8241475"/>
                <a:gd name="connsiteY6" fmla="*/ 1415117 h 3211623"/>
                <a:gd name="connsiteX7" fmla="*/ 8241475 w 8241475"/>
                <a:gd name="connsiteY7" fmla="*/ 2068259 h 3211623"/>
                <a:gd name="connsiteX8" fmla="*/ 5522025 w 8241475"/>
                <a:gd name="connsiteY8" fmla="*/ 2329516 h 3211623"/>
                <a:gd name="connsiteX9" fmla="*/ 3942607 w 8241475"/>
                <a:gd name="connsiteY9" fmla="*/ 3184540 h 3211623"/>
                <a:gd name="connsiteX10" fmla="*/ 2719449 w 8241475"/>
                <a:gd name="connsiteY10" fmla="*/ 2139511 h 3211623"/>
                <a:gd name="connsiteX11" fmla="*/ 1413166 w 8241475"/>
                <a:gd name="connsiteY11" fmla="*/ 2388895 h 3211623"/>
                <a:gd name="connsiteX12" fmla="*/ 11876 w 8241475"/>
                <a:gd name="connsiteY12" fmla="*/ 1676373 h 3211623"/>
                <a:gd name="connsiteX13" fmla="*/ 0 w 8241475"/>
                <a:gd name="connsiteY13" fmla="*/ 1498244 h 3211623"/>
                <a:gd name="connsiteX0" fmla="*/ 0 w 8241475"/>
                <a:gd name="connsiteY0" fmla="*/ 1498244 h 3207727"/>
                <a:gd name="connsiteX1" fmla="*/ 1520041 w 8241475"/>
                <a:gd name="connsiteY1" fmla="*/ 761974 h 3207727"/>
                <a:gd name="connsiteX2" fmla="*/ 2695699 w 8241475"/>
                <a:gd name="connsiteY2" fmla="*/ 1094484 h 3207727"/>
                <a:gd name="connsiteX3" fmla="*/ 3966358 w 8241475"/>
                <a:gd name="connsiteY3" fmla="*/ 13829 h 3207727"/>
                <a:gd name="connsiteX4" fmla="*/ 5569527 w 8241475"/>
                <a:gd name="connsiteY4" fmla="*/ 940104 h 3207727"/>
                <a:gd name="connsiteX5" fmla="*/ 6852062 w 8241475"/>
                <a:gd name="connsiteY5" fmla="*/ 263211 h 3207727"/>
                <a:gd name="connsiteX6" fmla="*/ 8241475 w 8241475"/>
                <a:gd name="connsiteY6" fmla="*/ 1415117 h 3207727"/>
                <a:gd name="connsiteX7" fmla="*/ 8241475 w 8241475"/>
                <a:gd name="connsiteY7" fmla="*/ 2068259 h 3207727"/>
                <a:gd name="connsiteX8" fmla="*/ 5522025 w 8241475"/>
                <a:gd name="connsiteY8" fmla="*/ 2329516 h 3207727"/>
                <a:gd name="connsiteX9" fmla="*/ 3942607 w 8241475"/>
                <a:gd name="connsiteY9" fmla="*/ 3184540 h 3207727"/>
                <a:gd name="connsiteX10" fmla="*/ 2719449 w 8241475"/>
                <a:gd name="connsiteY10" fmla="*/ 2139511 h 3207727"/>
                <a:gd name="connsiteX11" fmla="*/ 1413166 w 8241475"/>
                <a:gd name="connsiteY11" fmla="*/ 2388895 h 3207727"/>
                <a:gd name="connsiteX12" fmla="*/ 11876 w 8241475"/>
                <a:gd name="connsiteY12" fmla="*/ 1676373 h 3207727"/>
                <a:gd name="connsiteX13" fmla="*/ 0 w 8241475"/>
                <a:gd name="connsiteY13" fmla="*/ 1498244 h 3207727"/>
                <a:gd name="connsiteX0" fmla="*/ 0 w 8241475"/>
                <a:gd name="connsiteY0" fmla="*/ 1498244 h 3207727"/>
                <a:gd name="connsiteX1" fmla="*/ 1520041 w 8241475"/>
                <a:gd name="connsiteY1" fmla="*/ 761974 h 3207727"/>
                <a:gd name="connsiteX2" fmla="*/ 2695699 w 8241475"/>
                <a:gd name="connsiteY2" fmla="*/ 1094484 h 3207727"/>
                <a:gd name="connsiteX3" fmla="*/ 3966358 w 8241475"/>
                <a:gd name="connsiteY3" fmla="*/ 13829 h 3207727"/>
                <a:gd name="connsiteX4" fmla="*/ 5569527 w 8241475"/>
                <a:gd name="connsiteY4" fmla="*/ 940104 h 3207727"/>
                <a:gd name="connsiteX5" fmla="*/ 6852062 w 8241475"/>
                <a:gd name="connsiteY5" fmla="*/ 263211 h 3207727"/>
                <a:gd name="connsiteX6" fmla="*/ 8241475 w 8241475"/>
                <a:gd name="connsiteY6" fmla="*/ 1415117 h 3207727"/>
                <a:gd name="connsiteX7" fmla="*/ 8241475 w 8241475"/>
                <a:gd name="connsiteY7" fmla="*/ 2068259 h 3207727"/>
                <a:gd name="connsiteX8" fmla="*/ 6673932 w 8241475"/>
                <a:gd name="connsiteY8" fmla="*/ 2222638 h 3207727"/>
                <a:gd name="connsiteX9" fmla="*/ 5522025 w 8241475"/>
                <a:gd name="connsiteY9" fmla="*/ 2329516 h 3207727"/>
                <a:gd name="connsiteX10" fmla="*/ 3942607 w 8241475"/>
                <a:gd name="connsiteY10" fmla="*/ 3184540 h 3207727"/>
                <a:gd name="connsiteX11" fmla="*/ 2719449 w 8241475"/>
                <a:gd name="connsiteY11" fmla="*/ 2139511 h 3207727"/>
                <a:gd name="connsiteX12" fmla="*/ 1413166 w 8241475"/>
                <a:gd name="connsiteY12" fmla="*/ 2388895 h 3207727"/>
                <a:gd name="connsiteX13" fmla="*/ 11876 w 8241475"/>
                <a:gd name="connsiteY13" fmla="*/ 1676373 h 3207727"/>
                <a:gd name="connsiteX14" fmla="*/ 0 w 8241475"/>
                <a:gd name="connsiteY14" fmla="*/ 1498244 h 3207727"/>
                <a:gd name="connsiteX0" fmla="*/ 0 w 8241475"/>
                <a:gd name="connsiteY0" fmla="*/ 1498244 h 3207727"/>
                <a:gd name="connsiteX1" fmla="*/ 1520041 w 8241475"/>
                <a:gd name="connsiteY1" fmla="*/ 761974 h 3207727"/>
                <a:gd name="connsiteX2" fmla="*/ 2695699 w 8241475"/>
                <a:gd name="connsiteY2" fmla="*/ 1094484 h 3207727"/>
                <a:gd name="connsiteX3" fmla="*/ 3966358 w 8241475"/>
                <a:gd name="connsiteY3" fmla="*/ 13829 h 3207727"/>
                <a:gd name="connsiteX4" fmla="*/ 5569527 w 8241475"/>
                <a:gd name="connsiteY4" fmla="*/ 940104 h 3207727"/>
                <a:gd name="connsiteX5" fmla="*/ 6852062 w 8241475"/>
                <a:gd name="connsiteY5" fmla="*/ 263211 h 3207727"/>
                <a:gd name="connsiteX6" fmla="*/ 8241475 w 8241475"/>
                <a:gd name="connsiteY6" fmla="*/ 1415117 h 3207727"/>
                <a:gd name="connsiteX7" fmla="*/ 8241475 w 8241475"/>
                <a:gd name="connsiteY7" fmla="*/ 2068259 h 3207727"/>
                <a:gd name="connsiteX8" fmla="*/ 6887688 w 8241475"/>
                <a:gd name="connsiteY8" fmla="*/ 2958908 h 3207727"/>
                <a:gd name="connsiteX9" fmla="*/ 5522025 w 8241475"/>
                <a:gd name="connsiteY9" fmla="*/ 2329516 h 3207727"/>
                <a:gd name="connsiteX10" fmla="*/ 3942607 w 8241475"/>
                <a:gd name="connsiteY10" fmla="*/ 3184540 h 3207727"/>
                <a:gd name="connsiteX11" fmla="*/ 2719449 w 8241475"/>
                <a:gd name="connsiteY11" fmla="*/ 2139511 h 3207727"/>
                <a:gd name="connsiteX12" fmla="*/ 1413166 w 8241475"/>
                <a:gd name="connsiteY12" fmla="*/ 2388895 h 3207727"/>
                <a:gd name="connsiteX13" fmla="*/ 11876 w 8241475"/>
                <a:gd name="connsiteY13" fmla="*/ 1676373 h 3207727"/>
                <a:gd name="connsiteX14" fmla="*/ 0 w 8241475"/>
                <a:gd name="connsiteY14" fmla="*/ 1498244 h 3207727"/>
                <a:gd name="connsiteX0" fmla="*/ 0 w 8241475"/>
                <a:gd name="connsiteY0" fmla="*/ 1498244 h 3207727"/>
                <a:gd name="connsiteX1" fmla="*/ 1520041 w 8241475"/>
                <a:gd name="connsiteY1" fmla="*/ 761974 h 3207727"/>
                <a:gd name="connsiteX2" fmla="*/ 2695699 w 8241475"/>
                <a:gd name="connsiteY2" fmla="*/ 1094484 h 3207727"/>
                <a:gd name="connsiteX3" fmla="*/ 3966358 w 8241475"/>
                <a:gd name="connsiteY3" fmla="*/ 13829 h 3207727"/>
                <a:gd name="connsiteX4" fmla="*/ 5569527 w 8241475"/>
                <a:gd name="connsiteY4" fmla="*/ 940104 h 3207727"/>
                <a:gd name="connsiteX5" fmla="*/ 6852062 w 8241475"/>
                <a:gd name="connsiteY5" fmla="*/ 263211 h 3207727"/>
                <a:gd name="connsiteX6" fmla="*/ 8241475 w 8241475"/>
                <a:gd name="connsiteY6" fmla="*/ 1415117 h 3207727"/>
                <a:gd name="connsiteX7" fmla="*/ 8241475 w 8241475"/>
                <a:gd name="connsiteY7" fmla="*/ 2068259 h 3207727"/>
                <a:gd name="connsiteX8" fmla="*/ 6887688 w 8241475"/>
                <a:gd name="connsiteY8" fmla="*/ 2958908 h 3207727"/>
                <a:gd name="connsiteX9" fmla="*/ 5522025 w 8241475"/>
                <a:gd name="connsiteY9" fmla="*/ 2329516 h 3207727"/>
                <a:gd name="connsiteX10" fmla="*/ 3942607 w 8241475"/>
                <a:gd name="connsiteY10" fmla="*/ 3184540 h 3207727"/>
                <a:gd name="connsiteX11" fmla="*/ 2719449 w 8241475"/>
                <a:gd name="connsiteY11" fmla="*/ 2139511 h 3207727"/>
                <a:gd name="connsiteX12" fmla="*/ 1413166 w 8241475"/>
                <a:gd name="connsiteY12" fmla="*/ 2388895 h 3207727"/>
                <a:gd name="connsiteX13" fmla="*/ 11876 w 8241475"/>
                <a:gd name="connsiteY13" fmla="*/ 1676373 h 3207727"/>
                <a:gd name="connsiteX14" fmla="*/ 0 w 8241475"/>
                <a:gd name="connsiteY14" fmla="*/ 1498244 h 3207727"/>
                <a:gd name="connsiteX0" fmla="*/ 0 w 8241475"/>
                <a:gd name="connsiteY0" fmla="*/ 1498244 h 3207727"/>
                <a:gd name="connsiteX1" fmla="*/ 1520041 w 8241475"/>
                <a:gd name="connsiteY1" fmla="*/ 761974 h 3207727"/>
                <a:gd name="connsiteX2" fmla="*/ 2695699 w 8241475"/>
                <a:gd name="connsiteY2" fmla="*/ 1094484 h 3207727"/>
                <a:gd name="connsiteX3" fmla="*/ 3966358 w 8241475"/>
                <a:gd name="connsiteY3" fmla="*/ 13829 h 3207727"/>
                <a:gd name="connsiteX4" fmla="*/ 5569527 w 8241475"/>
                <a:gd name="connsiteY4" fmla="*/ 940104 h 3207727"/>
                <a:gd name="connsiteX5" fmla="*/ 6852062 w 8241475"/>
                <a:gd name="connsiteY5" fmla="*/ 263211 h 3207727"/>
                <a:gd name="connsiteX6" fmla="*/ 8241475 w 8241475"/>
                <a:gd name="connsiteY6" fmla="*/ 1415117 h 3207727"/>
                <a:gd name="connsiteX7" fmla="*/ 8241475 w 8241475"/>
                <a:gd name="connsiteY7" fmla="*/ 2068259 h 3207727"/>
                <a:gd name="connsiteX8" fmla="*/ 6887688 w 8241475"/>
                <a:gd name="connsiteY8" fmla="*/ 2958908 h 3207727"/>
                <a:gd name="connsiteX9" fmla="*/ 5522025 w 8241475"/>
                <a:gd name="connsiteY9" fmla="*/ 2329516 h 3207727"/>
                <a:gd name="connsiteX10" fmla="*/ 3942607 w 8241475"/>
                <a:gd name="connsiteY10" fmla="*/ 3184540 h 3207727"/>
                <a:gd name="connsiteX11" fmla="*/ 2719449 w 8241475"/>
                <a:gd name="connsiteY11" fmla="*/ 2139511 h 3207727"/>
                <a:gd name="connsiteX12" fmla="*/ 1413166 w 8241475"/>
                <a:gd name="connsiteY12" fmla="*/ 2388895 h 3207727"/>
                <a:gd name="connsiteX13" fmla="*/ 11876 w 8241475"/>
                <a:gd name="connsiteY13" fmla="*/ 1676373 h 3207727"/>
                <a:gd name="connsiteX14" fmla="*/ 0 w 8241475"/>
                <a:gd name="connsiteY14" fmla="*/ 1498244 h 3207727"/>
                <a:gd name="connsiteX0" fmla="*/ 0 w 8241475"/>
                <a:gd name="connsiteY0" fmla="*/ 1498244 h 3207727"/>
                <a:gd name="connsiteX1" fmla="*/ 1520041 w 8241475"/>
                <a:gd name="connsiteY1" fmla="*/ 761974 h 3207727"/>
                <a:gd name="connsiteX2" fmla="*/ 2695699 w 8241475"/>
                <a:gd name="connsiteY2" fmla="*/ 1094484 h 3207727"/>
                <a:gd name="connsiteX3" fmla="*/ 3966358 w 8241475"/>
                <a:gd name="connsiteY3" fmla="*/ 13829 h 3207727"/>
                <a:gd name="connsiteX4" fmla="*/ 5569527 w 8241475"/>
                <a:gd name="connsiteY4" fmla="*/ 940104 h 3207727"/>
                <a:gd name="connsiteX5" fmla="*/ 6852062 w 8241475"/>
                <a:gd name="connsiteY5" fmla="*/ 263211 h 3207727"/>
                <a:gd name="connsiteX6" fmla="*/ 8241475 w 8241475"/>
                <a:gd name="connsiteY6" fmla="*/ 1415117 h 3207727"/>
                <a:gd name="connsiteX7" fmla="*/ 8241475 w 8241475"/>
                <a:gd name="connsiteY7" fmla="*/ 2068259 h 3207727"/>
                <a:gd name="connsiteX8" fmla="*/ 6887688 w 8241475"/>
                <a:gd name="connsiteY8" fmla="*/ 2958908 h 3207727"/>
                <a:gd name="connsiteX9" fmla="*/ 5522025 w 8241475"/>
                <a:gd name="connsiteY9" fmla="*/ 2329516 h 3207727"/>
                <a:gd name="connsiteX10" fmla="*/ 3942607 w 8241475"/>
                <a:gd name="connsiteY10" fmla="*/ 3184540 h 3207727"/>
                <a:gd name="connsiteX11" fmla="*/ 2719449 w 8241475"/>
                <a:gd name="connsiteY11" fmla="*/ 2139511 h 3207727"/>
                <a:gd name="connsiteX12" fmla="*/ 1413166 w 8241475"/>
                <a:gd name="connsiteY12" fmla="*/ 2388895 h 3207727"/>
                <a:gd name="connsiteX13" fmla="*/ 11876 w 8241475"/>
                <a:gd name="connsiteY13" fmla="*/ 1676373 h 3207727"/>
                <a:gd name="connsiteX14" fmla="*/ 0 w 8241475"/>
                <a:gd name="connsiteY14" fmla="*/ 1498244 h 3207727"/>
                <a:gd name="connsiteX0" fmla="*/ 0 w 8241475"/>
                <a:gd name="connsiteY0" fmla="*/ 1498244 h 3207727"/>
                <a:gd name="connsiteX1" fmla="*/ 1520041 w 8241475"/>
                <a:gd name="connsiteY1" fmla="*/ 761974 h 3207727"/>
                <a:gd name="connsiteX2" fmla="*/ 2695699 w 8241475"/>
                <a:gd name="connsiteY2" fmla="*/ 1094484 h 3207727"/>
                <a:gd name="connsiteX3" fmla="*/ 3966358 w 8241475"/>
                <a:gd name="connsiteY3" fmla="*/ 13829 h 3207727"/>
                <a:gd name="connsiteX4" fmla="*/ 5569527 w 8241475"/>
                <a:gd name="connsiteY4" fmla="*/ 940104 h 3207727"/>
                <a:gd name="connsiteX5" fmla="*/ 6852062 w 8241475"/>
                <a:gd name="connsiteY5" fmla="*/ 263211 h 3207727"/>
                <a:gd name="connsiteX6" fmla="*/ 8241475 w 8241475"/>
                <a:gd name="connsiteY6" fmla="*/ 1415117 h 3207727"/>
                <a:gd name="connsiteX7" fmla="*/ 8241475 w 8241475"/>
                <a:gd name="connsiteY7" fmla="*/ 2068259 h 3207727"/>
                <a:gd name="connsiteX8" fmla="*/ 6887688 w 8241475"/>
                <a:gd name="connsiteY8" fmla="*/ 2958908 h 3207727"/>
                <a:gd name="connsiteX9" fmla="*/ 5522025 w 8241475"/>
                <a:gd name="connsiteY9" fmla="*/ 2329516 h 3207727"/>
                <a:gd name="connsiteX10" fmla="*/ 3942607 w 8241475"/>
                <a:gd name="connsiteY10" fmla="*/ 3184540 h 3207727"/>
                <a:gd name="connsiteX11" fmla="*/ 2719449 w 8241475"/>
                <a:gd name="connsiteY11" fmla="*/ 2139511 h 3207727"/>
                <a:gd name="connsiteX12" fmla="*/ 1413166 w 8241475"/>
                <a:gd name="connsiteY12" fmla="*/ 2388895 h 3207727"/>
                <a:gd name="connsiteX13" fmla="*/ 11876 w 8241475"/>
                <a:gd name="connsiteY13" fmla="*/ 1676373 h 3207727"/>
                <a:gd name="connsiteX14" fmla="*/ 0 w 8241475"/>
                <a:gd name="connsiteY14" fmla="*/ 1498244 h 3207727"/>
                <a:gd name="connsiteX0" fmla="*/ 0 w 8241475"/>
                <a:gd name="connsiteY0" fmla="*/ 1498244 h 3207727"/>
                <a:gd name="connsiteX1" fmla="*/ 1520041 w 8241475"/>
                <a:gd name="connsiteY1" fmla="*/ 761974 h 3207727"/>
                <a:gd name="connsiteX2" fmla="*/ 2695699 w 8241475"/>
                <a:gd name="connsiteY2" fmla="*/ 1094484 h 3207727"/>
                <a:gd name="connsiteX3" fmla="*/ 3966358 w 8241475"/>
                <a:gd name="connsiteY3" fmla="*/ 13829 h 3207727"/>
                <a:gd name="connsiteX4" fmla="*/ 5569527 w 8241475"/>
                <a:gd name="connsiteY4" fmla="*/ 940104 h 3207727"/>
                <a:gd name="connsiteX5" fmla="*/ 6852062 w 8241475"/>
                <a:gd name="connsiteY5" fmla="*/ 263211 h 3207727"/>
                <a:gd name="connsiteX6" fmla="*/ 8241475 w 8241475"/>
                <a:gd name="connsiteY6" fmla="*/ 1415117 h 3207727"/>
                <a:gd name="connsiteX7" fmla="*/ 8241475 w 8241475"/>
                <a:gd name="connsiteY7" fmla="*/ 2068259 h 3207727"/>
                <a:gd name="connsiteX8" fmla="*/ 6887688 w 8241475"/>
                <a:gd name="connsiteY8" fmla="*/ 2958908 h 3207727"/>
                <a:gd name="connsiteX9" fmla="*/ 5522025 w 8241475"/>
                <a:gd name="connsiteY9" fmla="*/ 2329516 h 3207727"/>
                <a:gd name="connsiteX10" fmla="*/ 3942607 w 8241475"/>
                <a:gd name="connsiteY10" fmla="*/ 3184540 h 3207727"/>
                <a:gd name="connsiteX11" fmla="*/ 2719449 w 8241475"/>
                <a:gd name="connsiteY11" fmla="*/ 2139511 h 3207727"/>
                <a:gd name="connsiteX12" fmla="*/ 1413166 w 8241475"/>
                <a:gd name="connsiteY12" fmla="*/ 2388895 h 3207727"/>
                <a:gd name="connsiteX13" fmla="*/ 11876 w 8241475"/>
                <a:gd name="connsiteY13" fmla="*/ 1676373 h 3207727"/>
                <a:gd name="connsiteX14" fmla="*/ 0 w 8241475"/>
                <a:gd name="connsiteY14" fmla="*/ 1498244 h 3207727"/>
                <a:gd name="connsiteX0" fmla="*/ 0 w 8241475"/>
                <a:gd name="connsiteY0" fmla="*/ 1498244 h 3207727"/>
                <a:gd name="connsiteX1" fmla="*/ 1520041 w 8241475"/>
                <a:gd name="connsiteY1" fmla="*/ 761974 h 3207727"/>
                <a:gd name="connsiteX2" fmla="*/ 2695699 w 8241475"/>
                <a:gd name="connsiteY2" fmla="*/ 1094484 h 3207727"/>
                <a:gd name="connsiteX3" fmla="*/ 3966358 w 8241475"/>
                <a:gd name="connsiteY3" fmla="*/ 13829 h 3207727"/>
                <a:gd name="connsiteX4" fmla="*/ 5569527 w 8241475"/>
                <a:gd name="connsiteY4" fmla="*/ 940104 h 3207727"/>
                <a:gd name="connsiteX5" fmla="*/ 6852062 w 8241475"/>
                <a:gd name="connsiteY5" fmla="*/ 263211 h 3207727"/>
                <a:gd name="connsiteX6" fmla="*/ 8241475 w 8241475"/>
                <a:gd name="connsiteY6" fmla="*/ 1415117 h 3207727"/>
                <a:gd name="connsiteX7" fmla="*/ 8229600 w 8241475"/>
                <a:gd name="connsiteY7" fmla="*/ 1795126 h 3207727"/>
                <a:gd name="connsiteX8" fmla="*/ 6887688 w 8241475"/>
                <a:gd name="connsiteY8" fmla="*/ 2958908 h 3207727"/>
                <a:gd name="connsiteX9" fmla="*/ 5522025 w 8241475"/>
                <a:gd name="connsiteY9" fmla="*/ 2329516 h 3207727"/>
                <a:gd name="connsiteX10" fmla="*/ 3942607 w 8241475"/>
                <a:gd name="connsiteY10" fmla="*/ 3184540 h 3207727"/>
                <a:gd name="connsiteX11" fmla="*/ 2719449 w 8241475"/>
                <a:gd name="connsiteY11" fmla="*/ 2139511 h 3207727"/>
                <a:gd name="connsiteX12" fmla="*/ 1413166 w 8241475"/>
                <a:gd name="connsiteY12" fmla="*/ 2388895 h 3207727"/>
                <a:gd name="connsiteX13" fmla="*/ 11876 w 8241475"/>
                <a:gd name="connsiteY13" fmla="*/ 1676373 h 3207727"/>
                <a:gd name="connsiteX14" fmla="*/ 0 w 8241475"/>
                <a:gd name="connsiteY14" fmla="*/ 1498244 h 3207727"/>
                <a:gd name="connsiteX0" fmla="*/ 0 w 8241475"/>
                <a:gd name="connsiteY0" fmla="*/ 1498244 h 3207727"/>
                <a:gd name="connsiteX1" fmla="*/ 1520041 w 8241475"/>
                <a:gd name="connsiteY1" fmla="*/ 761974 h 3207727"/>
                <a:gd name="connsiteX2" fmla="*/ 2695699 w 8241475"/>
                <a:gd name="connsiteY2" fmla="*/ 1094484 h 3207727"/>
                <a:gd name="connsiteX3" fmla="*/ 3966358 w 8241475"/>
                <a:gd name="connsiteY3" fmla="*/ 13829 h 3207727"/>
                <a:gd name="connsiteX4" fmla="*/ 5569527 w 8241475"/>
                <a:gd name="connsiteY4" fmla="*/ 940104 h 3207727"/>
                <a:gd name="connsiteX5" fmla="*/ 6852062 w 8241475"/>
                <a:gd name="connsiteY5" fmla="*/ 263211 h 3207727"/>
                <a:gd name="connsiteX6" fmla="*/ 8241475 w 8241475"/>
                <a:gd name="connsiteY6" fmla="*/ 1415117 h 3207727"/>
                <a:gd name="connsiteX7" fmla="*/ 8229600 w 8241475"/>
                <a:gd name="connsiteY7" fmla="*/ 1795126 h 3207727"/>
                <a:gd name="connsiteX8" fmla="*/ 6887688 w 8241475"/>
                <a:gd name="connsiteY8" fmla="*/ 2958908 h 3207727"/>
                <a:gd name="connsiteX9" fmla="*/ 5522025 w 8241475"/>
                <a:gd name="connsiteY9" fmla="*/ 2329516 h 3207727"/>
                <a:gd name="connsiteX10" fmla="*/ 3942607 w 8241475"/>
                <a:gd name="connsiteY10" fmla="*/ 3184540 h 3207727"/>
                <a:gd name="connsiteX11" fmla="*/ 2719449 w 8241475"/>
                <a:gd name="connsiteY11" fmla="*/ 2139511 h 3207727"/>
                <a:gd name="connsiteX12" fmla="*/ 1413166 w 8241475"/>
                <a:gd name="connsiteY12" fmla="*/ 2388895 h 3207727"/>
                <a:gd name="connsiteX13" fmla="*/ 11876 w 8241475"/>
                <a:gd name="connsiteY13" fmla="*/ 1676373 h 3207727"/>
                <a:gd name="connsiteX14" fmla="*/ 0 w 8241475"/>
                <a:gd name="connsiteY14" fmla="*/ 1498244 h 3207727"/>
                <a:gd name="connsiteX0" fmla="*/ 0 w 8241475"/>
                <a:gd name="connsiteY0" fmla="*/ 1498244 h 3207727"/>
                <a:gd name="connsiteX1" fmla="*/ 1520041 w 8241475"/>
                <a:gd name="connsiteY1" fmla="*/ 761974 h 3207727"/>
                <a:gd name="connsiteX2" fmla="*/ 2695699 w 8241475"/>
                <a:gd name="connsiteY2" fmla="*/ 1094484 h 3207727"/>
                <a:gd name="connsiteX3" fmla="*/ 3966358 w 8241475"/>
                <a:gd name="connsiteY3" fmla="*/ 13829 h 3207727"/>
                <a:gd name="connsiteX4" fmla="*/ 5569527 w 8241475"/>
                <a:gd name="connsiteY4" fmla="*/ 940104 h 3207727"/>
                <a:gd name="connsiteX5" fmla="*/ 6852062 w 8241475"/>
                <a:gd name="connsiteY5" fmla="*/ 263211 h 3207727"/>
                <a:gd name="connsiteX6" fmla="*/ 8241475 w 8241475"/>
                <a:gd name="connsiteY6" fmla="*/ 1415117 h 3207727"/>
                <a:gd name="connsiteX7" fmla="*/ 8229600 w 8241475"/>
                <a:gd name="connsiteY7" fmla="*/ 1807001 h 3207727"/>
                <a:gd name="connsiteX8" fmla="*/ 6887688 w 8241475"/>
                <a:gd name="connsiteY8" fmla="*/ 2958908 h 3207727"/>
                <a:gd name="connsiteX9" fmla="*/ 5522025 w 8241475"/>
                <a:gd name="connsiteY9" fmla="*/ 2329516 h 3207727"/>
                <a:gd name="connsiteX10" fmla="*/ 3942607 w 8241475"/>
                <a:gd name="connsiteY10" fmla="*/ 3184540 h 3207727"/>
                <a:gd name="connsiteX11" fmla="*/ 2719449 w 8241475"/>
                <a:gd name="connsiteY11" fmla="*/ 2139511 h 3207727"/>
                <a:gd name="connsiteX12" fmla="*/ 1413166 w 8241475"/>
                <a:gd name="connsiteY12" fmla="*/ 2388895 h 3207727"/>
                <a:gd name="connsiteX13" fmla="*/ 11876 w 8241475"/>
                <a:gd name="connsiteY13" fmla="*/ 1676373 h 3207727"/>
                <a:gd name="connsiteX14" fmla="*/ 0 w 8241475"/>
                <a:gd name="connsiteY14" fmla="*/ 1498244 h 3207727"/>
                <a:gd name="connsiteX0" fmla="*/ 0 w 8241475"/>
                <a:gd name="connsiteY0" fmla="*/ 1498244 h 3207727"/>
                <a:gd name="connsiteX1" fmla="*/ 1520041 w 8241475"/>
                <a:gd name="connsiteY1" fmla="*/ 761974 h 3207727"/>
                <a:gd name="connsiteX2" fmla="*/ 2695699 w 8241475"/>
                <a:gd name="connsiteY2" fmla="*/ 1094484 h 3207727"/>
                <a:gd name="connsiteX3" fmla="*/ 3966358 w 8241475"/>
                <a:gd name="connsiteY3" fmla="*/ 13829 h 3207727"/>
                <a:gd name="connsiteX4" fmla="*/ 5569527 w 8241475"/>
                <a:gd name="connsiteY4" fmla="*/ 940104 h 3207727"/>
                <a:gd name="connsiteX5" fmla="*/ 6852062 w 8241475"/>
                <a:gd name="connsiteY5" fmla="*/ 263211 h 3207727"/>
                <a:gd name="connsiteX6" fmla="*/ 8241475 w 8241475"/>
                <a:gd name="connsiteY6" fmla="*/ 1415117 h 3207727"/>
                <a:gd name="connsiteX7" fmla="*/ 8229600 w 8241475"/>
                <a:gd name="connsiteY7" fmla="*/ 1807001 h 3207727"/>
                <a:gd name="connsiteX8" fmla="*/ 6887688 w 8241475"/>
                <a:gd name="connsiteY8" fmla="*/ 2958908 h 3207727"/>
                <a:gd name="connsiteX9" fmla="*/ 5522025 w 8241475"/>
                <a:gd name="connsiteY9" fmla="*/ 2329516 h 3207727"/>
                <a:gd name="connsiteX10" fmla="*/ 3942607 w 8241475"/>
                <a:gd name="connsiteY10" fmla="*/ 3184540 h 3207727"/>
                <a:gd name="connsiteX11" fmla="*/ 2719449 w 8241475"/>
                <a:gd name="connsiteY11" fmla="*/ 2139511 h 3207727"/>
                <a:gd name="connsiteX12" fmla="*/ 1413166 w 8241475"/>
                <a:gd name="connsiteY12" fmla="*/ 2388895 h 3207727"/>
                <a:gd name="connsiteX13" fmla="*/ 11876 w 8241475"/>
                <a:gd name="connsiteY13" fmla="*/ 1676373 h 3207727"/>
                <a:gd name="connsiteX14" fmla="*/ 0 w 8241475"/>
                <a:gd name="connsiteY14" fmla="*/ 1498244 h 3207727"/>
                <a:gd name="connsiteX0" fmla="*/ 0 w 8241475"/>
                <a:gd name="connsiteY0" fmla="*/ 1498244 h 3207727"/>
                <a:gd name="connsiteX1" fmla="*/ 1520041 w 8241475"/>
                <a:gd name="connsiteY1" fmla="*/ 761974 h 3207727"/>
                <a:gd name="connsiteX2" fmla="*/ 2695699 w 8241475"/>
                <a:gd name="connsiteY2" fmla="*/ 1094484 h 3207727"/>
                <a:gd name="connsiteX3" fmla="*/ 3966358 w 8241475"/>
                <a:gd name="connsiteY3" fmla="*/ 13829 h 3207727"/>
                <a:gd name="connsiteX4" fmla="*/ 5569527 w 8241475"/>
                <a:gd name="connsiteY4" fmla="*/ 940104 h 3207727"/>
                <a:gd name="connsiteX5" fmla="*/ 6852062 w 8241475"/>
                <a:gd name="connsiteY5" fmla="*/ 263211 h 3207727"/>
                <a:gd name="connsiteX6" fmla="*/ 8241475 w 8241475"/>
                <a:gd name="connsiteY6" fmla="*/ 1415117 h 3207727"/>
                <a:gd name="connsiteX7" fmla="*/ 8229600 w 8241475"/>
                <a:gd name="connsiteY7" fmla="*/ 1807001 h 3207727"/>
                <a:gd name="connsiteX8" fmla="*/ 6887688 w 8241475"/>
                <a:gd name="connsiteY8" fmla="*/ 2958908 h 3207727"/>
                <a:gd name="connsiteX9" fmla="*/ 5522025 w 8241475"/>
                <a:gd name="connsiteY9" fmla="*/ 2329516 h 3207727"/>
                <a:gd name="connsiteX10" fmla="*/ 3942607 w 8241475"/>
                <a:gd name="connsiteY10" fmla="*/ 3184540 h 3207727"/>
                <a:gd name="connsiteX11" fmla="*/ 2719449 w 8241475"/>
                <a:gd name="connsiteY11" fmla="*/ 2139511 h 3207727"/>
                <a:gd name="connsiteX12" fmla="*/ 1413166 w 8241475"/>
                <a:gd name="connsiteY12" fmla="*/ 2388895 h 3207727"/>
                <a:gd name="connsiteX13" fmla="*/ 11876 w 8241475"/>
                <a:gd name="connsiteY13" fmla="*/ 1676373 h 3207727"/>
                <a:gd name="connsiteX14" fmla="*/ 0 w 8241475"/>
                <a:gd name="connsiteY14" fmla="*/ 1498244 h 3207727"/>
                <a:gd name="connsiteX0" fmla="*/ 0 w 8241475"/>
                <a:gd name="connsiteY0" fmla="*/ 1498244 h 3207727"/>
                <a:gd name="connsiteX1" fmla="*/ 1520041 w 8241475"/>
                <a:gd name="connsiteY1" fmla="*/ 761974 h 3207727"/>
                <a:gd name="connsiteX2" fmla="*/ 2695699 w 8241475"/>
                <a:gd name="connsiteY2" fmla="*/ 1094484 h 3207727"/>
                <a:gd name="connsiteX3" fmla="*/ 3966358 w 8241475"/>
                <a:gd name="connsiteY3" fmla="*/ 13829 h 3207727"/>
                <a:gd name="connsiteX4" fmla="*/ 5569527 w 8241475"/>
                <a:gd name="connsiteY4" fmla="*/ 940104 h 3207727"/>
                <a:gd name="connsiteX5" fmla="*/ 6852062 w 8241475"/>
                <a:gd name="connsiteY5" fmla="*/ 263211 h 3207727"/>
                <a:gd name="connsiteX6" fmla="*/ 8241475 w 8241475"/>
                <a:gd name="connsiteY6" fmla="*/ 1415117 h 3207727"/>
                <a:gd name="connsiteX7" fmla="*/ 8229600 w 8241475"/>
                <a:gd name="connsiteY7" fmla="*/ 1807001 h 3207727"/>
                <a:gd name="connsiteX8" fmla="*/ 6887688 w 8241475"/>
                <a:gd name="connsiteY8" fmla="*/ 2958908 h 3207727"/>
                <a:gd name="connsiteX9" fmla="*/ 5522025 w 8241475"/>
                <a:gd name="connsiteY9" fmla="*/ 2329516 h 3207727"/>
                <a:gd name="connsiteX10" fmla="*/ 3942607 w 8241475"/>
                <a:gd name="connsiteY10" fmla="*/ 3184540 h 3207727"/>
                <a:gd name="connsiteX11" fmla="*/ 2719449 w 8241475"/>
                <a:gd name="connsiteY11" fmla="*/ 2139511 h 3207727"/>
                <a:gd name="connsiteX12" fmla="*/ 1413166 w 8241475"/>
                <a:gd name="connsiteY12" fmla="*/ 2388895 h 3207727"/>
                <a:gd name="connsiteX13" fmla="*/ 11876 w 8241475"/>
                <a:gd name="connsiteY13" fmla="*/ 1676373 h 3207727"/>
                <a:gd name="connsiteX14" fmla="*/ 0 w 8241475"/>
                <a:gd name="connsiteY14" fmla="*/ 1498244 h 3207727"/>
                <a:gd name="connsiteX0" fmla="*/ 15949 w 8257424"/>
                <a:gd name="connsiteY0" fmla="*/ 1498244 h 3207727"/>
                <a:gd name="connsiteX1" fmla="*/ 1535990 w 8257424"/>
                <a:gd name="connsiteY1" fmla="*/ 761974 h 3207727"/>
                <a:gd name="connsiteX2" fmla="*/ 2711648 w 8257424"/>
                <a:gd name="connsiteY2" fmla="*/ 1094484 h 3207727"/>
                <a:gd name="connsiteX3" fmla="*/ 3982307 w 8257424"/>
                <a:gd name="connsiteY3" fmla="*/ 13829 h 3207727"/>
                <a:gd name="connsiteX4" fmla="*/ 5585476 w 8257424"/>
                <a:gd name="connsiteY4" fmla="*/ 940104 h 3207727"/>
                <a:gd name="connsiteX5" fmla="*/ 6868011 w 8257424"/>
                <a:gd name="connsiteY5" fmla="*/ 263211 h 3207727"/>
                <a:gd name="connsiteX6" fmla="*/ 8257424 w 8257424"/>
                <a:gd name="connsiteY6" fmla="*/ 1415117 h 3207727"/>
                <a:gd name="connsiteX7" fmla="*/ 8245549 w 8257424"/>
                <a:gd name="connsiteY7" fmla="*/ 1807001 h 3207727"/>
                <a:gd name="connsiteX8" fmla="*/ 6903637 w 8257424"/>
                <a:gd name="connsiteY8" fmla="*/ 2958908 h 3207727"/>
                <a:gd name="connsiteX9" fmla="*/ 5537974 w 8257424"/>
                <a:gd name="connsiteY9" fmla="*/ 2329516 h 3207727"/>
                <a:gd name="connsiteX10" fmla="*/ 3958556 w 8257424"/>
                <a:gd name="connsiteY10" fmla="*/ 3184540 h 3207727"/>
                <a:gd name="connsiteX11" fmla="*/ 2735398 w 8257424"/>
                <a:gd name="connsiteY11" fmla="*/ 2139511 h 3207727"/>
                <a:gd name="connsiteX12" fmla="*/ 1429115 w 8257424"/>
                <a:gd name="connsiteY12" fmla="*/ 2388895 h 3207727"/>
                <a:gd name="connsiteX13" fmla="*/ 27825 w 8257424"/>
                <a:gd name="connsiteY13" fmla="*/ 1676373 h 3207727"/>
                <a:gd name="connsiteX14" fmla="*/ 15949 w 8257424"/>
                <a:gd name="connsiteY14" fmla="*/ 1498244 h 3207727"/>
                <a:gd name="connsiteX0" fmla="*/ 27304 w 8268779"/>
                <a:gd name="connsiteY0" fmla="*/ 1498244 h 3207727"/>
                <a:gd name="connsiteX1" fmla="*/ 1547345 w 8268779"/>
                <a:gd name="connsiteY1" fmla="*/ 761974 h 3207727"/>
                <a:gd name="connsiteX2" fmla="*/ 2723003 w 8268779"/>
                <a:gd name="connsiteY2" fmla="*/ 1094484 h 3207727"/>
                <a:gd name="connsiteX3" fmla="*/ 3993662 w 8268779"/>
                <a:gd name="connsiteY3" fmla="*/ 13829 h 3207727"/>
                <a:gd name="connsiteX4" fmla="*/ 5596831 w 8268779"/>
                <a:gd name="connsiteY4" fmla="*/ 940104 h 3207727"/>
                <a:gd name="connsiteX5" fmla="*/ 6879366 w 8268779"/>
                <a:gd name="connsiteY5" fmla="*/ 263211 h 3207727"/>
                <a:gd name="connsiteX6" fmla="*/ 8268779 w 8268779"/>
                <a:gd name="connsiteY6" fmla="*/ 1415117 h 3207727"/>
                <a:gd name="connsiteX7" fmla="*/ 8256904 w 8268779"/>
                <a:gd name="connsiteY7" fmla="*/ 1807001 h 3207727"/>
                <a:gd name="connsiteX8" fmla="*/ 6914992 w 8268779"/>
                <a:gd name="connsiteY8" fmla="*/ 2958908 h 3207727"/>
                <a:gd name="connsiteX9" fmla="*/ 5549329 w 8268779"/>
                <a:gd name="connsiteY9" fmla="*/ 2329516 h 3207727"/>
                <a:gd name="connsiteX10" fmla="*/ 3969911 w 8268779"/>
                <a:gd name="connsiteY10" fmla="*/ 3184540 h 3207727"/>
                <a:gd name="connsiteX11" fmla="*/ 2746753 w 8268779"/>
                <a:gd name="connsiteY11" fmla="*/ 2139511 h 3207727"/>
                <a:gd name="connsiteX12" fmla="*/ 1440470 w 8268779"/>
                <a:gd name="connsiteY12" fmla="*/ 2388895 h 3207727"/>
                <a:gd name="connsiteX13" fmla="*/ 39180 w 8268779"/>
                <a:gd name="connsiteY13" fmla="*/ 1676373 h 3207727"/>
                <a:gd name="connsiteX14" fmla="*/ 27304 w 8268779"/>
                <a:gd name="connsiteY14" fmla="*/ 1498244 h 3207727"/>
                <a:gd name="connsiteX0" fmla="*/ 27304 w 8268779"/>
                <a:gd name="connsiteY0" fmla="*/ 1498244 h 3207727"/>
                <a:gd name="connsiteX1" fmla="*/ 1547345 w 8268779"/>
                <a:gd name="connsiteY1" fmla="*/ 761974 h 3207727"/>
                <a:gd name="connsiteX2" fmla="*/ 2723003 w 8268779"/>
                <a:gd name="connsiteY2" fmla="*/ 1094484 h 3207727"/>
                <a:gd name="connsiteX3" fmla="*/ 3993662 w 8268779"/>
                <a:gd name="connsiteY3" fmla="*/ 13829 h 3207727"/>
                <a:gd name="connsiteX4" fmla="*/ 5596831 w 8268779"/>
                <a:gd name="connsiteY4" fmla="*/ 940104 h 3207727"/>
                <a:gd name="connsiteX5" fmla="*/ 6879366 w 8268779"/>
                <a:gd name="connsiteY5" fmla="*/ 263211 h 3207727"/>
                <a:gd name="connsiteX6" fmla="*/ 8268779 w 8268779"/>
                <a:gd name="connsiteY6" fmla="*/ 1415117 h 3207727"/>
                <a:gd name="connsiteX7" fmla="*/ 8256904 w 8268779"/>
                <a:gd name="connsiteY7" fmla="*/ 1807001 h 3207727"/>
                <a:gd name="connsiteX8" fmla="*/ 6914992 w 8268779"/>
                <a:gd name="connsiteY8" fmla="*/ 2958908 h 3207727"/>
                <a:gd name="connsiteX9" fmla="*/ 5549329 w 8268779"/>
                <a:gd name="connsiteY9" fmla="*/ 2329516 h 3207727"/>
                <a:gd name="connsiteX10" fmla="*/ 3969911 w 8268779"/>
                <a:gd name="connsiteY10" fmla="*/ 3184540 h 3207727"/>
                <a:gd name="connsiteX11" fmla="*/ 2746753 w 8268779"/>
                <a:gd name="connsiteY11" fmla="*/ 2139511 h 3207727"/>
                <a:gd name="connsiteX12" fmla="*/ 1440470 w 8268779"/>
                <a:gd name="connsiteY12" fmla="*/ 2388895 h 3207727"/>
                <a:gd name="connsiteX13" fmla="*/ 39180 w 8268779"/>
                <a:gd name="connsiteY13" fmla="*/ 1676373 h 3207727"/>
                <a:gd name="connsiteX14" fmla="*/ 27304 w 8268779"/>
                <a:gd name="connsiteY14" fmla="*/ 1498244 h 3207727"/>
                <a:gd name="connsiteX0" fmla="*/ 32494 w 8273969"/>
                <a:gd name="connsiteY0" fmla="*/ 1498244 h 3207727"/>
                <a:gd name="connsiteX1" fmla="*/ 1552535 w 8273969"/>
                <a:gd name="connsiteY1" fmla="*/ 761974 h 3207727"/>
                <a:gd name="connsiteX2" fmla="*/ 2728193 w 8273969"/>
                <a:gd name="connsiteY2" fmla="*/ 1094484 h 3207727"/>
                <a:gd name="connsiteX3" fmla="*/ 3998852 w 8273969"/>
                <a:gd name="connsiteY3" fmla="*/ 13829 h 3207727"/>
                <a:gd name="connsiteX4" fmla="*/ 5602021 w 8273969"/>
                <a:gd name="connsiteY4" fmla="*/ 940104 h 3207727"/>
                <a:gd name="connsiteX5" fmla="*/ 6884556 w 8273969"/>
                <a:gd name="connsiteY5" fmla="*/ 263211 h 3207727"/>
                <a:gd name="connsiteX6" fmla="*/ 8273969 w 8273969"/>
                <a:gd name="connsiteY6" fmla="*/ 1415117 h 3207727"/>
                <a:gd name="connsiteX7" fmla="*/ 8262094 w 8273969"/>
                <a:gd name="connsiteY7" fmla="*/ 1807001 h 3207727"/>
                <a:gd name="connsiteX8" fmla="*/ 6920182 w 8273969"/>
                <a:gd name="connsiteY8" fmla="*/ 2958908 h 3207727"/>
                <a:gd name="connsiteX9" fmla="*/ 5554519 w 8273969"/>
                <a:gd name="connsiteY9" fmla="*/ 2329516 h 3207727"/>
                <a:gd name="connsiteX10" fmla="*/ 3975101 w 8273969"/>
                <a:gd name="connsiteY10" fmla="*/ 3184540 h 3207727"/>
                <a:gd name="connsiteX11" fmla="*/ 2751943 w 8273969"/>
                <a:gd name="connsiteY11" fmla="*/ 2139511 h 3207727"/>
                <a:gd name="connsiteX12" fmla="*/ 1445660 w 8273969"/>
                <a:gd name="connsiteY12" fmla="*/ 2388895 h 3207727"/>
                <a:gd name="connsiteX13" fmla="*/ 44370 w 8273969"/>
                <a:gd name="connsiteY13" fmla="*/ 1676373 h 3207727"/>
                <a:gd name="connsiteX14" fmla="*/ 32494 w 8273969"/>
                <a:gd name="connsiteY14" fmla="*/ 1498244 h 3207727"/>
                <a:gd name="connsiteX0" fmla="*/ 32494 w 8273969"/>
                <a:gd name="connsiteY0" fmla="*/ 1498244 h 3207727"/>
                <a:gd name="connsiteX1" fmla="*/ 1552535 w 8273969"/>
                <a:gd name="connsiteY1" fmla="*/ 761974 h 3207727"/>
                <a:gd name="connsiteX2" fmla="*/ 2728193 w 8273969"/>
                <a:gd name="connsiteY2" fmla="*/ 1094484 h 3207727"/>
                <a:gd name="connsiteX3" fmla="*/ 3998852 w 8273969"/>
                <a:gd name="connsiteY3" fmla="*/ 13829 h 3207727"/>
                <a:gd name="connsiteX4" fmla="*/ 5602021 w 8273969"/>
                <a:gd name="connsiteY4" fmla="*/ 940104 h 3207727"/>
                <a:gd name="connsiteX5" fmla="*/ 6884556 w 8273969"/>
                <a:gd name="connsiteY5" fmla="*/ 263211 h 3207727"/>
                <a:gd name="connsiteX6" fmla="*/ 8273969 w 8273969"/>
                <a:gd name="connsiteY6" fmla="*/ 1415117 h 3207727"/>
                <a:gd name="connsiteX7" fmla="*/ 8262094 w 8273969"/>
                <a:gd name="connsiteY7" fmla="*/ 1807001 h 3207727"/>
                <a:gd name="connsiteX8" fmla="*/ 6920182 w 8273969"/>
                <a:gd name="connsiteY8" fmla="*/ 2958908 h 3207727"/>
                <a:gd name="connsiteX9" fmla="*/ 5554519 w 8273969"/>
                <a:gd name="connsiteY9" fmla="*/ 2329516 h 3207727"/>
                <a:gd name="connsiteX10" fmla="*/ 3975101 w 8273969"/>
                <a:gd name="connsiteY10" fmla="*/ 3184540 h 3207727"/>
                <a:gd name="connsiteX11" fmla="*/ 2751943 w 8273969"/>
                <a:gd name="connsiteY11" fmla="*/ 2139511 h 3207727"/>
                <a:gd name="connsiteX12" fmla="*/ 1445660 w 8273969"/>
                <a:gd name="connsiteY12" fmla="*/ 2388895 h 3207727"/>
                <a:gd name="connsiteX13" fmla="*/ 44370 w 8273969"/>
                <a:gd name="connsiteY13" fmla="*/ 1676373 h 3207727"/>
                <a:gd name="connsiteX14" fmla="*/ 32494 w 8273969"/>
                <a:gd name="connsiteY14" fmla="*/ 1498244 h 3207727"/>
                <a:gd name="connsiteX0" fmla="*/ 47644 w 8289119"/>
                <a:gd name="connsiteY0" fmla="*/ 1498244 h 3207727"/>
                <a:gd name="connsiteX1" fmla="*/ 1567685 w 8289119"/>
                <a:gd name="connsiteY1" fmla="*/ 761974 h 3207727"/>
                <a:gd name="connsiteX2" fmla="*/ 2743343 w 8289119"/>
                <a:gd name="connsiteY2" fmla="*/ 1094484 h 3207727"/>
                <a:gd name="connsiteX3" fmla="*/ 4014002 w 8289119"/>
                <a:gd name="connsiteY3" fmla="*/ 13829 h 3207727"/>
                <a:gd name="connsiteX4" fmla="*/ 5617171 w 8289119"/>
                <a:gd name="connsiteY4" fmla="*/ 940104 h 3207727"/>
                <a:gd name="connsiteX5" fmla="*/ 6899706 w 8289119"/>
                <a:gd name="connsiteY5" fmla="*/ 263211 h 3207727"/>
                <a:gd name="connsiteX6" fmla="*/ 8289119 w 8289119"/>
                <a:gd name="connsiteY6" fmla="*/ 1415117 h 3207727"/>
                <a:gd name="connsiteX7" fmla="*/ 8277244 w 8289119"/>
                <a:gd name="connsiteY7" fmla="*/ 1807001 h 3207727"/>
                <a:gd name="connsiteX8" fmla="*/ 6935332 w 8289119"/>
                <a:gd name="connsiteY8" fmla="*/ 2958908 h 3207727"/>
                <a:gd name="connsiteX9" fmla="*/ 5569669 w 8289119"/>
                <a:gd name="connsiteY9" fmla="*/ 2329516 h 3207727"/>
                <a:gd name="connsiteX10" fmla="*/ 3990251 w 8289119"/>
                <a:gd name="connsiteY10" fmla="*/ 3184540 h 3207727"/>
                <a:gd name="connsiteX11" fmla="*/ 2767093 w 8289119"/>
                <a:gd name="connsiteY11" fmla="*/ 2139511 h 3207727"/>
                <a:gd name="connsiteX12" fmla="*/ 1460810 w 8289119"/>
                <a:gd name="connsiteY12" fmla="*/ 2388895 h 3207727"/>
                <a:gd name="connsiteX13" fmla="*/ 59520 w 8289119"/>
                <a:gd name="connsiteY13" fmla="*/ 1676373 h 3207727"/>
                <a:gd name="connsiteX14" fmla="*/ 47644 w 8289119"/>
                <a:gd name="connsiteY14" fmla="*/ 1498244 h 3207727"/>
                <a:gd name="connsiteX0" fmla="*/ 47644 w 8289119"/>
                <a:gd name="connsiteY0" fmla="*/ 1498244 h 3207727"/>
                <a:gd name="connsiteX1" fmla="*/ 1567685 w 8289119"/>
                <a:gd name="connsiteY1" fmla="*/ 761974 h 3207727"/>
                <a:gd name="connsiteX2" fmla="*/ 2743343 w 8289119"/>
                <a:gd name="connsiteY2" fmla="*/ 1094484 h 3207727"/>
                <a:gd name="connsiteX3" fmla="*/ 4014002 w 8289119"/>
                <a:gd name="connsiteY3" fmla="*/ 13829 h 3207727"/>
                <a:gd name="connsiteX4" fmla="*/ 5617171 w 8289119"/>
                <a:gd name="connsiteY4" fmla="*/ 940104 h 3207727"/>
                <a:gd name="connsiteX5" fmla="*/ 6899706 w 8289119"/>
                <a:gd name="connsiteY5" fmla="*/ 263211 h 3207727"/>
                <a:gd name="connsiteX6" fmla="*/ 8289119 w 8289119"/>
                <a:gd name="connsiteY6" fmla="*/ 1415117 h 3207727"/>
                <a:gd name="connsiteX7" fmla="*/ 8277244 w 8289119"/>
                <a:gd name="connsiteY7" fmla="*/ 1807001 h 3207727"/>
                <a:gd name="connsiteX8" fmla="*/ 6935332 w 8289119"/>
                <a:gd name="connsiteY8" fmla="*/ 2958908 h 3207727"/>
                <a:gd name="connsiteX9" fmla="*/ 5569669 w 8289119"/>
                <a:gd name="connsiteY9" fmla="*/ 2329516 h 3207727"/>
                <a:gd name="connsiteX10" fmla="*/ 3990251 w 8289119"/>
                <a:gd name="connsiteY10" fmla="*/ 3184540 h 3207727"/>
                <a:gd name="connsiteX11" fmla="*/ 2767093 w 8289119"/>
                <a:gd name="connsiteY11" fmla="*/ 2139511 h 3207727"/>
                <a:gd name="connsiteX12" fmla="*/ 1460810 w 8289119"/>
                <a:gd name="connsiteY12" fmla="*/ 2388895 h 3207727"/>
                <a:gd name="connsiteX13" fmla="*/ 59520 w 8289119"/>
                <a:gd name="connsiteY13" fmla="*/ 1676373 h 3207727"/>
                <a:gd name="connsiteX14" fmla="*/ 47644 w 8289119"/>
                <a:gd name="connsiteY14" fmla="*/ 1498244 h 3207727"/>
                <a:gd name="connsiteX0" fmla="*/ 50723 w 8292198"/>
                <a:gd name="connsiteY0" fmla="*/ 1498244 h 3207727"/>
                <a:gd name="connsiteX1" fmla="*/ 1570764 w 8292198"/>
                <a:gd name="connsiteY1" fmla="*/ 761974 h 3207727"/>
                <a:gd name="connsiteX2" fmla="*/ 2746422 w 8292198"/>
                <a:gd name="connsiteY2" fmla="*/ 1094484 h 3207727"/>
                <a:gd name="connsiteX3" fmla="*/ 4017081 w 8292198"/>
                <a:gd name="connsiteY3" fmla="*/ 13829 h 3207727"/>
                <a:gd name="connsiteX4" fmla="*/ 5620250 w 8292198"/>
                <a:gd name="connsiteY4" fmla="*/ 940104 h 3207727"/>
                <a:gd name="connsiteX5" fmla="*/ 6902785 w 8292198"/>
                <a:gd name="connsiteY5" fmla="*/ 263211 h 3207727"/>
                <a:gd name="connsiteX6" fmla="*/ 8292198 w 8292198"/>
                <a:gd name="connsiteY6" fmla="*/ 1415117 h 3207727"/>
                <a:gd name="connsiteX7" fmla="*/ 8280323 w 8292198"/>
                <a:gd name="connsiteY7" fmla="*/ 1807001 h 3207727"/>
                <a:gd name="connsiteX8" fmla="*/ 6938411 w 8292198"/>
                <a:gd name="connsiteY8" fmla="*/ 2958908 h 3207727"/>
                <a:gd name="connsiteX9" fmla="*/ 5572748 w 8292198"/>
                <a:gd name="connsiteY9" fmla="*/ 2329516 h 3207727"/>
                <a:gd name="connsiteX10" fmla="*/ 3993330 w 8292198"/>
                <a:gd name="connsiteY10" fmla="*/ 3184540 h 3207727"/>
                <a:gd name="connsiteX11" fmla="*/ 2770172 w 8292198"/>
                <a:gd name="connsiteY11" fmla="*/ 2139511 h 3207727"/>
                <a:gd name="connsiteX12" fmla="*/ 1463889 w 8292198"/>
                <a:gd name="connsiteY12" fmla="*/ 2388895 h 3207727"/>
                <a:gd name="connsiteX13" fmla="*/ 62599 w 8292198"/>
                <a:gd name="connsiteY13" fmla="*/ 1676373 h 3207727"/>
                <a:gd name="connsiteX14" fmla="*/ 50723 w 8292198"/>
                <a:gd name="connsiteY14" fmla="*/ 1498244 h 3207727"/>
                <a:gd name="connsiteX0" fmla="*/ 50723 w 8292198"/>
                <a:gd name="connsiteY0" fmla="*/ 3583055 h 5292538"/>
                <a:gd name="connsiteX1" fmla="*/ 2096359 w 8292198"/>
                <a:gd name="connsiteY1" fmla="*/ 72806 h 5292538"/>
                <a:gd name="connsiteX2" fmla="*/ 2746422 w 8292198"/>
                <a:gd name="connsiteY2" fmla="*/ 3179295 h 5292538"/>
                <a:gd name="connsiteX3" fmla="*/ 4017081 w 8292198"/>
                <a:gd name="connsiteY3" fmla="*/ 2098640 h 5292538"/>
                <a:gd name="connsiteX4" fmla="*/ 5620250 w 8292198"/>
                <a:gd name="connsiteY4" fmla="*/ 3024915 h 5292538"/>
                <a:gd name="connsiteX5" fmla="*/ 6902785 w 8292198"/>
                <a:gd name="connsiteY5" fmla="*/ 2348022 h 5292538"/>
                <a:gd name="connsiteX6" fmla="*/ 8292198 w 8292198"/>
                <a:gd name="connsiteY6" fmla="*/ 3499928 h 5292538"/>
                <a:gd name="connsiteX7" fmla="*/ 8280323 w 8292198"/>
                <a:gd name="connsiteY7" fmla="*/ 3891812 h 5292538"/>
                <a:gd name="connsiteX8" fmla="*/ 6938411 w 8292198"/>
                <a:gd name="connsiteY8" fmla="*/ 5043719 h 5292538"/>
                <a:gd name="connsiteX9" fmla="*/ 5572748 w 8292198"/>
                <a:gd name="connsiteY9" fmla="*/ 4414327 h 5292538"/>
                <a:gd name="connsiteX10" fmla="*/ 3993330 w 8292198"/>
                <a:gd name="connsiteY10" fmla="*/ 5269351 h 5292538"/>
                <a:gd name="connsiteX11" fmla="*/ 2770172 w 8292198"/>
                <a:gd name="connsiteY11" fmla="*/ 4224322 h 5292538"/>
                <a:gd name="connsiteX12" fmla="*/ 1463889 w 8292198"/>
                <a:gd name="connsiteY12" fmla="*/ 4473706 h 5292538"/>
                <a:gd name="connsiteX13" fmla="*/ 62599 w 8292198"/>
                <a:gd name="connsiteY13" fmla="*/ 3761184 h 5292538"/>
                <a:gd name="connsiteX14" fmla="*/ 50723 w 8292198"/>
                <a:gd name="connsiteY14" fmla="*/ 3583055 h 5292538"/>
                <a:gd name="connsiteX0" fmla="*/ 50723 w 8292198"/>
                <a:gd name="connsiteY0" fmla="*/ 3626646 h 5336129"/>
                <a:gd name="connsiteX1" fmla="*/ 2096359 w 8292198"/>
                <a:gd name="connsiteY1" fmla="*/ 116397 h 5336129"/>
                <a:gd name="connsiteX2" fmla="*/ 2746422 w 8292198"/>
                <a:gd name="connsiteY2" fmla="*/ 3222886 h 5336129"/>
                <a:gd name="connsiteX3" fmla="*/ 4017081 w 8292198"/>
                <a:gd name="connsiteY3" fmla="*/ 2142231 h 5336129"/>
                <a:gd name="connsiteX4" fmla="*/ 5620250 w 8292198"/>
                <a:gd name="connsiteY4" fmla="*/ 3068506 h 5336129"/>
                <a:gd name="connsiteX5" fmla="*/ 6902785 w 8292198"/>
                <a:gd name="connsiteY5" fmla="*/ 2391613 h 5336129"/>
                <a:gd name="connsiteX6" fmla="*/ 8292198 w 8292198"/>
                <a:gd name="connsiteY6" fmla="*/ 3543519 h 5336129"/>
                <a:gd name="connsiteX7" fmla="*/ 8280323 w 8292198"/>
                <a:gd name="connsiteY7" fmla="*/ 3935403 h 5336129"/>
                <a:gd name="connsiteX8" fmla="*/ 6938411 w 8292198"/>
                <a:gd name="connsiteY8" fmla="*/ 5087310 h 5336129"/>
                <a:gd name="connsiteX9" fmla="*/ 5572748 w 8292198"/>
                <a:gd name="connsiteY9" fmla="*/ 4457918 h 5336129"/>
                <a:gd name="connsiteX10" fmla="*/ 3993330 w 8292198"/>
                <a:gd name="connsiteY10" fmla="*/ 5312942 h 5336129"/>
                <a:gd name="connsiteX11" fmla="*/ 2770172 w 8292198"/>
                <a:gd name="connsiteY11" fmla="*/ 4267913 h 5336129"/>
                <a:gd name="connsiteX12" fmla="*/ 1463889 w 8292198"/>
                <a:gd name="connsiteY12" fmla="*/ 4517297 h 5336129"/>
                <a:gd name="connsiteX13" fmla="*/ 62599 w 8292198"/>
                <a:gd name="connsiteY13" fmla="*/ 3804775 h 5336129"/>
                <a:gd name="connsiteX14" fmla="*/ 50723 w 8292198"/>
                <a:gd name="connsiteY14" fmla="*/ 3626646 h 5336129"/>
                <a:gd name="connsiteX0" fmla="*/ 50723 w 8292198"/>
                <a:gd name="connsiteY0" fmla="*/ 3598213 h 5307696"/>
                <a:gd name="connsiteX1" fmla="*/ 1891960 w 8292198"/>
                <a:gd name="connsiteY1" fmla="*/ 117164 h 5307696"/>
                <a:gd name="connsiteX2" fmla="*/ 2746422 w 8292198"/>
                <a:gd name="connsiteY2" fmla="*/ 3194453 h 5307696"/>
                <a:gd name="connsiteX3" fmla="*/ 4017081 w 8292198"/>
                <a:gd name="connsiteY3" fmla="*/ 2113798 h 5307696"/>
                <a:gd name="connsiteX4" fmla="*/ 5620250 w 8292198"/>
                <a:gd name="connsiteY4" fmla="*/ 3040073 h 5307696"/>
                <a:gd name="connsiteX5" fmla="*/ 6902785 w 8292198"/>
                <a:gd name="connsiteY5" fmla="*/ 2363180 h 5307696"/>
                <a:gd name="connsiteX6" fmla="*/ 8292198 w 8292198"/>
                <a:gd name="connsiteY6" fmla="*/ 3515086 h 5307696"/>
                <a:gd name="connsiteX7" fmla="*/ 8280323 w 8292198"/>
                <a:gd name="connsiteY7" fmla="*/ 3906970 h 5307696"/>
                <a:gd name="connsiteX8" fmla="*/ 6938411 w 8292198"/>
                <a:gd name="connsiteY8" fmla="*/ 5058877 h 5307696"/>
                <a:gd name="connsiteX9" fmla="*/ 5572748 w 8292198"/>
                <a:gd name="connsiteY9" fmla="*/ 4429485 h 5307696"/>
                <a:gd name="connsiteX10" fmla="*/ 3993330 w 8292198"/>
                <a:gd name="connsiteY10" fmla="*/ 5284509 h 5307696"/>
                <a:gd name="connsiteX11" fmla="*/ 2770172 w 8292198"/>
                <a:gd name="connsiteY11" fmla="*/ 4239480 h 5307696"/>
                <a:gd name="connsiteX12" fmla="*/ 1463889 w 8292198"/>
                <a:gd name="connsiteY12" fmla="*/ 4488864 h 5307696"/>
                <a:gd name="connsiteX13" fmla="*/ 62599 w 8292198"/>
                <a:gd name="connsiteY13" fmla="*/ 3776342 h 5307696"/>
                <a:gd name="connsiteX14" fmla="*/ 50723 w 8292198"/>
                <a:gd name="connsiteY14" fmla="*/ 3598213 h 5307696"/>
                <a:gd name="connsiteX0" fmla="*/ 50723 w 8292198"/>
                <a:gd name="connsiteY0" fmla="*/ 3481580 h 5191063"/>
                <a:gd name="connsiteX1" fmla="*/ 1891960 w 8292198"/>
                <a:gd name="connsiteY1" fmla="*/ 531 h 5191063"/>
                <a:gd name="connsiteX2" fmla="*/ 3447216 w 8292198"/>
                <a:gd name="connsiteY2" fmla="*/ 3194619 h 5191063"/>
                <a:gd name="connsiteX3" fmla="*/ 4017081 w 8292198"/>
                <a:gd name="connsiteY3" fmla="*/ 1997165 h 5191063"/>
                <a:gd name="connsiteX4" fmla="*/ 5620250 w 8292198"/>
                <a:gd name="connsiteY4" fmla="*/ 2923440 h 5191063"/>
                <a:gd name="connsiteX5" fmla="*/ 6902785 w 8292198"/>
                <a:gd name="connsiteY5" fmla="*/ 2246547 h 5191063"/>
                <a:gd name="connsiteX6" fmla="*/ 8292198 w 8292198"/>
                <a:gd name="connsiteY6" fmla="*/ 3398453 h 5191063"/>
                <a:gd name="connsiteX7" fmla="*/ 8280323 w 8292198"/>
                <a:gd name="connsiteY7" fmla="*/ 3790337 h 5191063"/>
                <a:gd name="connsiteX8" fmla="*/ 6938411 w 8292198"/>
                <a:gd name="connsiteY8" fmla="*/ 4942244 h 5191063"/>
                <a:gd name="connsiteX9" fmla="*/ 5572748 w 8292198"/>
                <a:gd name="connsiteY9" fmla="*/ 4312852 h 5191063"/>
                <a:gd name="connsiteX10" fmla="*/ 3993330 w 8292198"/>
                <a:gd name="connsiteY10" fmla="*/ 5167876 h 5191063"/>
                <a:gd name="connsiteX11" fmla="*/ 2770172 w 8292198"/>
                <a:gd name="connsiteY11" fmla="*/ 4122847 h 5191063"/>
                <a:gd name="connsiteX12" fmla="*/ 1463889 w 8292198"/>
                <a:gd name="connsiteY12" fmla="*/ 4372231 h 5191063"/>
                <a:gd name="connsiteX13" fmla="*/ 62599 w 8292198"/>
                <a:gd name="connsiteY13" fmla="*/ 3659709 h 5191063"/>
                <a:gd name="connsiteX14" fmla="*/ 50723 w 8292198"/>
                <a:gd name="connsiteY14" fmla="*/ 3481580 h 5191063"/>
                <a:gd name="connsiteX0" fmla="*/ 50723 w 8292198"/>
                <a:gd name="connsiteY0" fmla="*/ 3525372 h 5234855"/>
                <a:gd name="connsiteX1" fmla="*/ 2183958 w 8292198"/>
                <a:gd name="connsiteY1" fmla="*/ 523 h 5234855"/>
                <a:gd name="connsiteX2" fmla="*/ 3447216 w 8292198"/>
                <a:gd name="connsiteY2" fmla="*/ 3238411 h 5234855"/>
                <a:gd name="connsiteX3" fmla="*/ 4017081 w 8292198"/>
                <a:gd name="connsiteY3" fmla="*/ 2040957 h 5234855"/>
                <a:gd name="connsiteX4" fmla="*/ 5620250 w 8292198"/>
                <a:gd name="connsiteY4" fmla="*/ 2967232 h 5234855"/>
                <a:gd name="connsiteX5" fmla="*/ 6902785 w 8292198"/>
                <a:gd name="connsiteY5" fmla="*/ 2290339 h 5234855"/>
                <a:gd name="connsiteX6" fmla="*/ 8292198 w 8292198"/>
                <a:gd name="connsiteY6" fmla="*/ 3442245 h 5234855"/>
                <a:gd name="connsiteX7" fmla="*/ 8280323 w 8292198"/>
                <a:gd name="connsiteY7" fmla="*/ 3834129 h 5234855"/>
                <a:gd name="connsiteX8" fmla="*/ 6938411 w 8292198"/>
                <a:gd name="connsiteY8" fmla="*/ 4986036 h 5234855"/>
                <a:gd name="connsiteX9" fmla="*/ 5572748 w 8292198"/>
                <a:gd name="connsiteY9" fmla="*/ 4356644 h 5234855"/>
                <a:gd name="connsiteX10" fmla="*/ 3993330 w 8292198"/>
                <a:gd name="connsiteY10" fmla="*/ 5211668 h 5234855"/>
                <a:gd name="connsiteX11" fmla="*/ 2770172 w 8292198"/>
                <a:gd name="connsiteY11" fmla="*/ 4166639 h 5234855"/>
                <a:gd name="connsiteX12" fmla="*/ 1463889 w 8292198"/>
                <a:gd name="connsiteY12" fmla="*/ 4416023 h 5234855"/>
                <a:gd name="connsiteX13" fmla="*/ 62599 w 8292198"/>
                <a:gd name="connsiteY13" fmla="*/ 3703501 h 5234855"/>
                <a:gd name="connsiteX14" fmla="*/ 50723 w 8292198"/>
                <a:gd name="connsiteY14" fmla="*/ 3525372 h 5234855"/>
                <a:gd name="connsiteX0" fmla="*/ 50723 w 8292198"/>
                <a:gd name="connsiteY0" fmla="*/ 3525733 h 5235216"/>
                <a:gd name="connsiteX1" fmla="*/ 2183958 w 8292198"/>
                <a:gd name="connsiteY1" fmla="*/ 884 h 5235216"/>
                <a:gd name="connsiteX2" fmla="*/ 3447216 w 8292198"/>
                <a:gd name="connsiteY2" fmla="*/ 3238772 h 5235216"/>
                <a:gd name="connsiteX3" fmla="*/ 4017081 w 8292198"/>
                <a:gd name="connsiteY3" fmla="*/ 2041318 h 5235216"/>
                <a:gd name="connsiteX4" fmla="*/ 5620250 w 8292198"/>
                <a:gd name="connsiteY4" fmla="*/ 2967593 h 5235216"/>
                <a:gd name="connsiteX5" fmla="*/ 6902785 w 8292198"/>
                <a:gd name="connsiteY5" fmla="*/ 2290700 h 5235216"/>
                <a:gd name="connsiteX6" fmla="*/ 8292198 w 8292198"/>
                <a:gd name="connsiteY6" fmla="*/ 3442606 h 5235216"/>
                <a:gd name="connsiteX7" fmla="*/ 8280323 w 8292198"/>
                <a:gd name="connsiteY7" fmla="*/ 3834490 h 5235216"/>
                <a:gd name="connsiteX8" fmla="*/ 6938411 w 8292198"/>
                <a:gd name="connsiteY8" fmla="*/ 4986397 h 5235216"/>
                <a:gd name="connsiteX9" fmla="*/ 5572748 w 8292198"/>
                <a:gd name="connsiteY9" fmla="*/ 4357005 h 5235216"/>
                <a:gd name="connsiteX10" fmla="*/ 3993330 w 8292198"/>
                <a:gd name="connsiteY10" fmla="*/ 5212029 h 5235216"/>
                <a:gd name="connsiteX11" fmla="*/ 2770172 w 8292198"/>
                <a:gd name="connsiteY11" fmla="*/ 4167000 h 5235216"/>
                <a:gd name="connsiteX12" fmla="*/ 1463889 w 8292198"/>
                <a:gd name="connsiteY12" fmla="*/ 4416384 h 5235216"/>
                <a:gd name="connsiteX13" fmla="*/ 62599 w 8292198"/>
                <a:gd name="connsiteY13" fmla="*/ 3703862 h 5235216"/>
                <a:gd name="connsiteX14" fmla="*/ 50723 w 8292198"/>
                <a:gd name="connsiteY14" fmla="*/ 3525733 h 5235216"/>
                <a:gd name="connsiteX0" fmla="*/ 50723 w 8292198"/>
                <a:gd name="connsiteY0" fmla="*/ 3525060 h 5234543"/>
                <a:gd name="connsiteX1" fmla="*/ 2183958 w 8292198"/>
                <a:gd name="connsiteY1" fmla="*/ 211 h 5234543"/>
                <a:gd name="connsiteX2" fmla="*/ 3447216 w 8292198"/>
                <a:gd name="connsiteY2" fmla="*/ 3238099 h 5234543"/>
                <a:gd name="connsiteX3" fmla="*/ 4017081 w 8292198"/>
                <a:gd name="connsiteY3" fmla="*/ 2040645 h 5234543"/>
                <a:gd name="connsiteX4" fmla="*/ 5620250 w 8292198"/>
                <a:gd name="connsiteY4" fmla="*/ 2966920 h 5234543"/>
                <a:gd name="connsiteX5" fmla="*/ 6902785 w 8292198"/>
                <a:gd name="connsiteY5" fmla="*/ 2290027 h 5234543"/>
                <a:gd name="connsiteX6" fmla="*/ 8292198 w 8292198"/>
                <a:gd name="connsiteY6" fmla="*/ 3441933 h 5234543"/>
                <a:gd name="connsiteX7" fmla="*/ 8280323 w 8292198"/>
                <a:gd name="connsiteY7" fmla="*/ 3833817 h 5234543"/>
                <a:gd name="connsiteX8" fmla="*/ 6938411 w 8292198"/>
                <a:gd name="connsiteY8" fmla="*/ 4985724 h 5234543"/>
                <a:gd name="connsiteX9" fmla="*/ 5572748 w 8292198"/>
                <a:gd name="connsiteY9" fmla="*/ 4356332 h 5234543"/>
                <a:gd name="connsiteX10" fmla="*/ 3993330 w 8292198"/>
                <a:gd name="connsiteY10" fmla="*/ 5211356 h 5234543"/>
                <a:gd name="connsiteX11" fmla="*/ 2770172 w 8292198"/>
                <a:gd name="connsiteY11" fmla="*/ 4166327 h 5234543"/>
                <a:gd name="connsiteX12" fmla="*/ 1463889 w 8292198"/>
                <a:gd name="connsiteY12" fmla="*/ 4415711 h 5234543"/>
                <a:gd name="connsiteX13" fmla="*/ 62599 w 8292198"/>
                <a:gd name="connsiteY13" fmla="*/ 3703189 h 5234543"/>
                <a:gd name="connsiteX14" fmla="*/ 50723 w 8292198"/>
                <a:gd name="connsiteY14" fmla="*/ 3525060 h 5234543"/>
                <a:gd name="connsiteX0" fmla="*/ 50723 w 8292198"/>
                <a:gd name="connsiteY0" fmla="*/ 3525060 h 5234543"/>
                <a:gd name="connsiteX1" fmla="*/ 2183958 w 8292198"/>
                <a:gd name="connsiteY1" fmla="*/ 211 h 5234543"/>
                <a:gd name="connsiteX2" fmla="*/ 3447216 w 8292198"/>
                <a:gd name="connsiteY2" fmla="*/ 3238099 h 5234543"/>
                <a:gd name="connsiteX3" fmla="*/ 4017081 w 8292198"/>
                <a:gd name="connsiteY3" fmla="*/ 2040645 h 5234543"/>
                <a:gd name="connsiteX4" fmla="*/ 5620250 w 8292198"/>
                <a:gd name="connsiteY4" fmla="*/ 2966920 h 5234543"/>
                <a:gd name="connsiteX5" fmla="*/ 6902785 w 8292198"/>
                <a:gd name="connsiteY5" fmla="*/ 2290027 h 5234543"/>
                <a:gd name="connsiteX6" fmla="*/ 8292198 w 8292198"/>
                <a:gd name="connsiteY6" fmla="*/ 3441933 h 5234543"/>
                <a:gd name="connsiteX7" fmla="*/ 8280323 w 8292198"/>
                <a:gd name="connsiteY7" fmla="*/ 3833817 h 5234543"/>
                <a:gd name="connsiteX8" fmla="*/ 6938411 w 8292198"/>
                <a:gd name="connsiteY8" fmla="*/ 4985724 h 5234543"/>
                <a:gd name="connsiteX9" fmla="*/ 5572748 w 8292198"/>
                <a:gd name="connsiteY9" fmla="*/ 4356332 h 5234543"/>
                <a:gd name="connsiteX10" fmla="*/ 3993330 w 8292198"/>
                <a:gd name="connsiteY10" fmla="*/ 5211356 h 5234543"/>
                <a:gd name="connsiteX11" fmla="*/ 2770172 w 8292198"/>
                <a:gd name="connsiteY11" fmla="*/ 4166327 h 5234543"/>
                <a:gd name="connsiteX12" fmla="*/ 1463889 w 8292198"/>
                <a:gd name="connsiteY12" fmla="*/ 4415711 h 5234543"/>
                <a:gd name="connsiteX13" fmla="*/ 62599 w 8292198"/>
                <a:gd name="connsiteY13" fmla="*/ 3703189 h 5234543"/>
                <a:gd name="connsiteX14" fmla="*/ 50723 w 8292198"/>
                <a:gd name="connsiteY14" fmla="*/ 3525060 h 5234543"/>
                <a:gd name="connsiteX0" fmla="*/ 50723 w 8292198"/>
                <a:gd name="connsiteY0" fmla="*/ 3525060 h 5234543"/>
                <a:gd name="connsiteX1" fmla="*/ 2183958 w 8292198"/>
                <a:gd name="connsiteY1" fmla="*/ 211 h 5234543"/>
                <a:gd name="connsiteX2" fmla="*/ 3447216 w 8292198"/>
                <a:gd name="connsiteY2" fmla="*/ 3238099 h 5234543"/>
                <a:gd name="connsiteX3" fmla="*/ 4017081 w 8292198"/>
                <a:gd name="connsiteY3" fmla="*/ 2040645 h 5234543"/>
                <a:gd name="connsiteX4" fmla="*/ 5620250 w 8292198"/>
                <a:gd name="connsiteY4" fmla="*/ 2966920 h 5234543"/>
                <a:gd name="connsiteX5" fmla="*/ 6902785 w 8292198"/>
                <a:gd name="connsiteY5" fmla="*/ 2290027 h 5234543"/>
                <a:gd name="connsiteX6" fmla="*/ 8292198 w 8292198"/>
                <a:gd name="connsiteY6" fmla="*/ 3441933 h 5234543"/>
                <a:gd name="connsiteX7" fmla="*/ 8280323 w 8292198"/>
                <a:gd name="connsiteY7" fmla="*/ 3833817 h 5234543"/>
                <a:gd name="connsiteX8" fmla="*/ 6938411 w 8292198"/>
                <a:gd name="connsiteY8" fmla="*/ 4985724 h 5234543"/>
                <a:gd name="connsiteX9" fmla="*/ 5572748 w 8292198"/>
                <a:gd name="connsiteY9" fmla="*/ 4356332 h 5234543"/>
                <a:gd name="connsiteX10" fmla="*/ 3993330 w 8292198"/>
                <a:gd name="connsiteY10" fmla="*/ 5211356 h 5234543"/>
                <a:gd name="connsiteX11" fmla="*/ 2770172 w 8292198"/>
                <a:gd name="connsiteY11" fmla="*/ 4166327 h 5234543"/>
                <a:gd name="connsiteX12" fmla="*/ 1463889 w 8292198"/>
                <a:gd name="connsiteY12" fmla="*/ 4415711 h 5234543"/>
                <a:gd name="connsiteX13" fmla="*/ 62599 w 8292198"/>
                <a:gd name="connsiteY13" fmla="*/ 3703189 h 5234543"/>
                <a:gd name="connsiteX14" fmla="*/ 50723 w 8292198"/>
                <a:gd name="connsiteY14" fmla="*/ 3525060 h 5234543"/>
                <a:gd name="connsiteX0" fmla="*/ 50723 w 8292198"/>
                <a:gd name="connsiteY0" fmla="*/ 3525060 h 5234543"/>
                <a:gd name="connsiteX1" fmla="*/ 2183958 w 8292198"/>
                <a:gd name="connsiteY1" fmla="*/ 211 h 5234543"/>
                <a:gd name="connsiteX2" fmla="*/ 3447216 w 8292198"/>
                <a:gd name="connsiteY2" fmla="*/ 3238099 h 5234543"/>
                <a:gd name="connsiteX3" fmla="*/ 4017081 w 8292198"/>
                <a:gd name="connsiteY3" fmla="*/ 2040645 h 5234543"/>
                <a:gd name="connsiteX4" fmla="*/ 5620250 w 8292198"/>
                <a:gd name="connsiteY4" fmla="*/ 2966920 h 5234543"/>
                <a:gd name="connsiteX5" fmla="*/ 6902785 w 8292198"/>
                <a:gd name="connsiteY5" fmla="*/ 2290027 h 5234543"/>
                <a:gd name="connsiteX6" fmla="*/ 8292198 w 8292198"/>
                <a:gd name="connsiteY6" fmla="*/ 3441933 h 5234543"/>
                <a:gd name="connsiteX7" fmla="*/ 8280323 w 8292198"/>
                <a:gd name="connsiteY7" fmla="*/ 3833817 h 5234543"/>
                <a:gd name="connsiteX8" fmla="*/ 6938411 w 8292198"/>
                <a:gd name="connsiteY8" fmla="*/ 4985724 h 5234543"/>
                <a:gd name="connsiteX9" fmla="*/ 5572748 w 8292198"/>
                <a:gd name="connsiteY9" fmla="*/ 4356332 h 5234543"/>
                <a:gd name="connsiteX10" fmla="*/ 3993330 w 8292198"/>
                <a:gd name="connsiteY10" fmla="*/ 5211356 h 5234543"/>
                <a:gd name="connsiteX11" fmla="*/ 2770172 w 8292198"/>
                <a:gd name="connsiteY11" fmla="*/ 4166327 h 5234543"/>
                <a:gd name="connsiteX12" fmla="*/ 1463889 w 8292198"/>
                <a:gd name="connsiteY12" fmla="*/ 4415711 h 5234543"/>
                <a:gd name="connsiteX13" fmla="*/ 62599 w 8292198"/>
                <a:gd name="connsiteY13" fmla="*/ 3703189 h 5234543"/>
                <a:gd name="connsiteX14" fmla="*/ 50723 w 8292198"/>
                <a:gd name="connsiteY14" fmla="*/ 3525060 h 5234543"/>
                <a:gd name="connsiteX0" fmla="*/ 50723 w 8292198"/>
                <a:gd name="connsiteY0" fmla="*/ 3510462 h 5219945"/>
                <a:gd name="connsiteX1" fmla="*/ 2081759 w 8292198"/>
                <a:gd name="connsiteY1" fmla="*/ 212 h 5219945"/>
                <a:gd name="connsiteX2" fmla="*/ 3447216 w 8292198"/>
                <a:gd name="connsiteY2" fmla="*/ 3223501 h 5219945"/>
                <a:gd name="connsiteX3" fmla="*/ 4017081 w 8292198"/>
                <a:gd name="connsiteY3" fmla="*/ 2026047 h 5219945"/>
                <a:gd name="connsiteX4" fmla="*/ 5620250 w 8292198"/>
                <a:gd name="connsiteY4" fmla="*/ 2952322 h 5219945"/>
                <a:gd name="connsiteX5" fmla="*/ 6902785 w 8292198"/>
                <a:gd name="connsiteY5" fmla="*/ 2275429 h 5219945"/>
                <a:gd name="connsiteX6" fmla="*/ 8292198 w 8292198"/>
                <a:gd name="connsiteY6" fmla="*/ 3427335 h 5219945"/>
                <a:gd name="connsiteX7" fmla="*/ 8280323 w 8292198"/>
                <a:gd name="connsiteY7" fmla="*/ 3819219 h 5219945"/>
                <a:gd name="connsiteX8" fmla="*/ 6938411 w 8292198"/>
                <a:gd name="connsiteY8" fmla="*/ 4971126 h 5219945"/>
                <a:gd name="connsiteX9" fmla="*/ 5572748 w 8292198"/>
                <a:gd name="connsiteY9" fmla="*/ 4341734 h 5219945"/>
                <a:gd name="connsiteX10" fmla="*/ 3993330 w 8292198"/>
                <a:gd name="connsiteY10" fmla="*/ 5196758 h 5219945"/>
                <a:gd name="connsiteX11" fmla="*/ 2770172 w 8292198"/>
                <a:gd name="connsiteY11" fmla="*/ 4151729 h 5219945"/>
                <a:gd name="connsiteX12" fmla="*/ 1463889 w 8292198"/>
                <a:gd name="connsiteY12" fmla="*/ 4401113 h 5219945"/>
                <a:gd name="connsiteX13" fmla="*/ 62599 w 8292198"/>
                <a:gd name="connsiteY13" fmla="*/ 3688591 h 5219945"/>
                <a:gd name="connsiteX14" fmla="*/ 50723 w 8292198"/>
                <a:gd name="connsiteY14" fmla="*/ 3510462 h 5219945"/>
                <a:gd name="connsiteX0" fmla="*/ 50723 w 8292198"/>
                <a:gd name="connsiteY0" fmla="*/ 3532948 h 5242431"/>
                <a:gd name="connsiteX1" fmla="*/ 2081759 w 8292198"/>
                <a:gd name="connsiteY1" fmla="*/ 22698 h 5242431"/>
                <a:gd name="connsiteX2" fmla="*/ 3447216 w 8292198"/>
                <a:gd name="connsiteY2" fmla="*/ 3245987 h 5242431"/>
                <a:gd name="connsiteX3" fmla="*/ 4017081 w 8292198"/>
                <a:gd name="connsiteY3" fmla="*/ 2048533 h 5242431"/>
                <a:gd name="connsiteX4" fmla="*/ 5620250 w 8292198"/>
                <a:gd name="connsiteY4" fmla="*/ 2974808 h 5242431"/>
                <a:gd name="connsiteX5" fmla="*/ 6902785 w 8292198"/>
                <a:gd name="connsiteY5" fmla="*/ 2297915 h 5242431"/>
                <a:gd name="connsiteX6" fmla="*/ 8292198 w 8292198"/>
                <a:gd name="connsiteY6" fmla="*/ 3449821 h 5242431"/>
                <a:gd name="connsiteX7" fmla="*/ 8280323 w 8292198"/>
                <a:gd name="connsiteY7" fmla="*/ 3841705 h 5242431"/>
                <a:gd name="connsiteX8" fmla="*/ 6938411 w 8292198"/>
                <a:gd name="connsiteY8" fmla="*/ 4993612 h 5242431"/>
                <a:gd name="connsiteX9" fmla="*/ 5572748 w 8292198"/>
                <a:gd name="connsiteY9" fmla="*/ 4364220 h 5242431"/>
                <a:gd name="connsiteX10" fmla="*/ 3993330 w 8292198"/>
                <a:gd name="connsiteY10" fmla="*/ 5219244 h 5242431"/>
                <a:gd name="connsiteX11" fmla="*/ 2770172 w 8292198"/>
                <a:gd name="connsiteY11" fmla="*/ 4174215 h 5242431"/>
                <a:gd name="connsiteX12" fmla="*/ 1463889 w 8292198"/>
                <a:gd name="connsiteY12" fmla="*/ 4423599 h 5242431"/>
                <a:gd name="connsiteX13" fmla="*/ 62599 w 8292198"/>
                <a:gd name="connsiteY13" fmla="*/ 3711077 h 5242431"/>
                <a:gd name="connsiteX14" fmla="*/ 50723 w 8292198"/>
                <a:gd name="connsiteY14" fmla="*/ 3532948 h 5242431"/>
                <a:gd name="connsiteX0" fmla="*/ 50723 w 8292198"/>
                <a:gd name="connsiteY0" fmla="*/ 3532948 h 5242431"/>
                <a:gd name="connsiteX1" fmla="*/ 2081759 w 8292198"/>
                <a:gd name="connsiteY1" fmla="*/ 22698 h 5242431"/>
                <a:gd name="connsiteX2" fmla="*/ 3447216 w 8292198"/>
                <a:gd name="connsiteY2" fmla="*/ 3245987 h 5242431"/>
                <a:gd name="connsiteX3" fmla="*/ 4761676 w 8292198"/>
                <a:gd name="connsiteY3" fmla="*/ 924342 h 5242431"/>
                <a:gd name="connsiteX4" fmla="*/ 5620250 w 8292198"/>
                <a:gd name="connsiteY4" fmla="*/ 2974808 h 5242431"/>
                <a:gd name="connsiteX5" fmla="*/ 6902785 w 8292198"/>
                <a:gd name="connsiteY5" fmla="*/ 2297915 h 5242431"/>
                <a:gd name="connsiteX6" fmla="*/ 8292198 w 8292198"/>
                <a:gd name="connsiteY6" fmla="*/ 3449821 h 5242431"/>
                <a:gd name="connsiteX7" fmla="*/ 8280323 w 8292198"/>
                <a:gd name="connsiteY7" fmla="*/ 3841705 h 5242431"/>
                <a:gd name="connsiteX8" fmla="*/ 6938411 w 8292198"/>
                <a:gd name="connsiteY8" fmla="*/ 4993612 h 5242431"/>
                <a:gd name="connsiteX9" fmla="*/ 5572748 w 8292198"/>
                <a:gd name="connsiteY9" fmla="*/ 4364220 h 5242431"/>
                <a:gd name="connsiteX10" fmla="*/ 3993330 w 8292198"/>
                <a:gd name="connsiteY10" fmla="*/ 5219244 h 5242431"/>
                <a:gd name="connsiteX11" fmla="*/ 2770172 w 8292198"/>
                <a:gd name="connsiteY11" fmla="*/ 4174215 h 5242431"/>
                <a:gd name="connsiteX12" fmla="*/ 1463889 w 8292198"/>
                <a:gd name="connsiteY12" fmla="*/ 4423599 h 5242431"/>
                <a:gd name="connsiteX13" fmla="*/ 62599 w 8292198"/>
                <a:gd name="connsiteY13" fmla="*/ 3711077 h 5242431"/>
                <a:gd name="connsiteX14" fmla="*/ 50723 w 8292198"/>
                <a:gd name="connsiteY14" fmla="*/ 3532948 h 5242431"/>
                <a:gd name="connsiteX0" fmla="*/ 50723 w 8292198"/>
                <a:gd name="connsiteY0" fmla="*/ 3532948 h 5242431"/>
                <a:gd name="connsiteX1" fmla="*/ 2081759 w 8292198"/>
                <a:gd name="connsiteY1" fmla="*/ 22698 h 5242431"/>
                <a:gd name="connsiteX2" fmla="*/ 3447216 w 8292198"/>
                <a:gd name="connsiteY2" fmla="*/ 3245987 h 5242431"/>
                <a:gd name="connsiteX3" fmla="*/ 4761676 w 8292198"/>
                <a:gd name="connsiteY3" fmla="*/ 924342 h 5242431"/>
                <a:gd name="connsiteX4" fmla="*/ 6160446 w 8292198"/>
                <a:gd name="connsiteY4" fmla="*/ 3091607 h 5242431"/>
                <a:gd name="connsiteX5" fmla="*/ 6902785 w 8292198"/>
                <a:gd name="connsiteY5" fmla="*/ 2297915 h 5242431"/>
                <a:gd name="connsiteX6" fmla="*/ 8292198 w 8292198"/>
                <a:gd name="connsiteY6" fmla="*/ 3449821 h 5242431"/>
                <a:gd name="connsiteX7" fmla="*/ 8280323 w 8292198"/>
                <a:gd name="connsiteY7" fmla="*/ 3841705 h 5242431"/>
                <a:gd name="connsiteX8" fmla="*/ 6938411 w 8292198"/>
                <a:gd name="connsiteY8" fmla="*/ 4993612 h 5242431"/>
                <a:gd name="connsiteX9" fmla="*/ 5572748 w 8292198"/>
                <a:gd name="connsiteY9" fmla="*/ 4364220 h 5242431"/>
                <a:gd name="connsiteX10" fmla="*/ 3993330 w 8292198"/>
                <a:gd name="connsiteY10" fmla="*/ 5219244 h 5242431"/>
                <a:gd name="connsiteX11" fmla="*/ 2770172 w 8292198"/>
                <a:gd name="connsiteY11" fmla="*/ 4174215 h 5242431"/>
                <a:gd name="connsiteX12" fmla="*/ 1463889 w 8292198"/>
                <a:gd name="connsiteY12" fmla="*/ 4423599 h 5242431"/>
                <a:gd name="connsiteX13" fmla="*/ 62599 w 8292198"/>
                <a:gd name="connsiteY13" fmla="*/ 3711077 h 5242431"/>
                <a:gd name="connsiteX14" fmla="*/ 50723 w 8292198"/>
                <a:gd name="connsiteY14" fmla="*/ 3532948 h 5242431"/>
                <a:gd name="connsiteX0" fmla="*/ 50723 w 8292198"/>
                <a:gd name="connsiteY0" fmla="*/ 3532948 h 5242431"/>
                <a:gd name="connsiteX1" fmla="*/ 2081759 w 8292198"/>
                <a:gd name="connsiteY1" fmla="*/ 22698 h 5242431"/>
                <a:gd name="connsiteX2" fmla="*/ 3447216 w 8292198"/>
                <a:gd name="connsiteY2" fmla="*/ 3245987 h 5242431"/>
                <a:gd name="connsiteX3" fmla="*/ 4761676 w 8292198"/>
                <a:gd name="connsiteY3" fmla="*/ 924342 h 5242431"/>
                <a:gd name="connsiteX4" fmla="*/ 6160446 w 8292198"/>
                <a:gd name="connsiteY4" fmla="*/ 3091607 h 5242431"/>
                <a:gd name="connsiteX5" fmla="*/ 6902785 w 8292198"/>
                <a:gd name="connsiteY5" fmla="*/ 2297915 h 5242431"/>
                <a:gd name="connsiteX6" fmla="*/ 8292198 w 8292198"/>
                <a:gd name="connsiteY6" fmla="*/ 3449821 h 5242431"/>
                <a:gd name="connsiteX7" fmla="*/ 8280323 w 8292198"/>
                <a:gd name="connsiteY7" fmla="*/ 3841705 h 5242431"/>
                <a:gd name="connsiteX8" fmla="*/ 6938411 w 8292198"/>
                <a:gd name="connsiteY8" fmla="*/ 4993612 h 5242431"/>
                <a:gd name="connsiteX9" fmla="*/ 5572748 w 8292198"/>
                <a:gd name="connsiteY9" fmla="*/ 4364220 h 5242431"/>
                <a:gd name="connsiteX10" fmla="*/ 3993330 w 8292198"/>
                <a:gd name="connsiteY10" fmla="*/ 5219244 h 5242431"/>
                <a:gd name="connsiteX11" fmla="*/ 2770172 w 8292198"/>
                <a:gd name="connsiteY11" fmla="*/ 4174215 h 5242431"/>
                <a:gd name="connsiteX12" fmla="*/ 1463889 w 8292198"/>
                <a:gd name="connsiteY12" fmla="*/ 4423599 h 5242431"/>
                <a:gd name="connsiteX13" fmla="*/ 62599 w 8292198"/>
                <a:gd name="connsiteY13" fmla="*/ 3711077 h 5242431"/>
                <a:gd name="connsiteX14" fmla="*/ 50723 w 8292198"/>
                <a:gd name="connsiteY14" fmla="*/ 3532948 h 5242431"/>
                <a:gd name="connsiteX0" fmla="*/ 50723 w 8292198"/>
                <a:gd name="connsiteY0" fmla="*/ 3532948 h 5242431"/>
                <a:gd name="connsiteX1" fmla="*/ 2081759 w 8292198"/>
                <a:gd name="connsiteY1" fmla="*/ 22698 h 5242431"/>
                <a:gd name="connsiteX2" fmla="*/ 3447216 w 8292198"/>
                <a:gd name="connsiteY2" fmla="*/ 3245987 h 5242431"/>
                <a:gd name="connsiteX3" fmla="*/ 4761676 w 8292198"/>
                <a:gd name="connsiteY3" fmla="*/ 924342 h 5242431"/>
                <a:gd name="connsiteX4" fmla="*/ 6160446 w 8292198"/>
                <a:gd name="connsiteY4" fmla="*/ 3091607 h 5242431"/>
                <a:gd name="connsiteX5" fmla="*/ 6902785 w 8292198"/>
                <a:gd name="connsiteY5" fmla="*/ 2297915 h 5242431"/>
                <a:gd name="connsiteX6" fmla="*/ 8292198 w 8292198"/>
                <a:gd name="connsiteY6" fmla="*/ 3449821 h 5242431"/>
                <a:gd name="connsiteX7" fmla="*/ 8280323 w 8292198"/>
                <a:gd name="connsiteY7" fmla="*/ 3841705 h 5242431"/>
                <a:gd name="connsiteX8" fmla="*/ 6938411 w 8292198"/>
                <a:gd name="connsiteY8" fmla="*/ 4993612 h 5242431"/>
                <a:gd name="connsiteX9" fmla="*/ 5572748 w 8292198"/>
                <a:gd name="connsiteY9" fmla="*/ 4364220 h 5242431"/>
                <a:gd name="connsiteX10" fmla="*/ 3993330 w 8292198"/>
                <a:gd name="connsiteY10" fmla="*/ 5219244 h 5242431"/>
                <a:gd name="connsiteX11" fmla="*/ 2770172 w 8292198"/>
                <a:gd name="connsiteY11" fmla="*/ 4174215 h 5242431"/>
                <a:gd name="connsiteX12" fmla="*/ 1463889 w 8292198"/>
                <a:gd name="connsiteY12" fmla="*/ 4423599 h 5242431"/>
                <a:gd name="connsiteX13" fmla="*/ 62599 w 8292198"/>
                <a:gd name="connsiteY13" fmla="*/ 3711077 h 5242431"/>
                <a:gd name="connsiteX14" fmla="*/ 50723 w 8292198"/>
                <a:gd name="connsiteY14" fmla="*/ 3532948 h 5242431"/>
                <a:gd name="connsiteX0" fmla="*/ 50723 w 8292198"/>
                <a:gd name="connsiteY0" fmla="*/ 3532948 h 5242431"/>
                <a:gd name="connsiteX1" fmla="*/ 2081759 w 8292198"/>
                <a:gd name="connsiteY1" fmla="*/ 22698 h 5242431"/>
                <a:gd name="connsiteX2" fmla="*/ 3447216 w 8292198"/>
                <a:gd name="connsiteY2" fmla="*/ 3245987 h 5242431"/>
                <a:gd name="connsiteX3" fmla="*/ 4761676 w 8292198"/>
                <a:gd name="connsiteY3" fmla="*/ 924342 h 5242431"/>
                <a:gd name="connsiteX4" fmla="*/ 6160446 w 8292198"/>
                <a:gd name="connsiteY4" fmla="*/ 3091607 h 5242431"/>
                <a:gd name="connsiteX5" fmla="*/ 6902785 w 8292198"/>
                <a:gd name="connsiteY5" fmla="*/ 2297915 h 5242431"/>
                <a:gd name="connsiteX6" fmla="*/ 8292198 w 8292198"/>
                <a:gd name="connsiteY6" fmla="*/ 3449821 h 5242431"/>
                <a:gd name="connsiteX7" fmla="*/ 8280323 w 8292198"/>
                <a:gd name="connsiteY7" fmla="*/ 3841705 h 5242431"/>
                <a:gd name="connsiteX8" fmla="*/ 6938411 w 8292198"/>
                <a:gd name="connsiteY8" fmla="*/ 4993612 h 5242431"/>
                <a:gd name="connsiteX9" fmla="*/ 5572748 w 8292198"/>
                <a:gd name="connsiteY9" fmla="*/ 4364220 h 5242431"/>
                <a:gd name="connsiteX10" fmla="*/ 3993330 w 8292198"/>
                <a:gd name="connsiteY10" fmla="*/ 5219244 h 5242431"/>
                <a:gd name="connsiteX11" fmla="*/ 2770172 w 8292198"/>
                <a:gd name="connsiteY11" fmla="*/ 4174215 h 5242431"/>
                <a:gd name="connsiteX12" fmla="*/ 1463889 w 8292198"/>
                <a:gd name="connsiteY12" fmla="*/ 4423599 h 5242431"/>
                <a:gd name="connsiteX13" fmla="*/ 62599 w 8292198"/>
                <a:gd name="connsiteY13" fmla="*/ 3711077 h 5242431"/>
                <a:gd name="connsiteX14" fmla="*/ 50723 w 8292198"/>
                <a:gd name="connsiteY14" fmla="*/ 3532948 h 5242431"/>
                <a:gd name="connsiteX0" fmla="*/ 50723 w 8292198"/>
                <a:gd name="connsiteY0" fmla="*/ 3532948 h 5242431"/>
                <a:gd name="connsiteX1" fmla="*/ 2081759 w 8292198"/>
                <a:gd name="connsiteY1" fmla="*/ 22698 h 5242431"/>
                <a:gd name="connsiteX2" fmla="*/ 3447216 w 8292198"/>
                <a:gd name="connsiteY2" fmla="*/ 3245987 h 5242431"/>
                <a:gd name="connsiteX3" fmla="*/ 4761677 w 8292198"/>
                <a:gd name="connsiteY3" fmla="*/ 822143 h 5242431"/>
                <a:gd name="connsiteX4" fmla="*/ 6160446 w 8292198"/>
                <a:gd name="connsiteY4" fmla="*/ 3091607 h 5242431"/>
                <a:gd name="connsiteX5" fmla="*/ 6902785 w 8292198"/>
                <a:gd name="connsiteY5" fmla="*/ 2297915 h 5242431"/>
                <a:gd name="connsiteX6" fmla="*/ 8292198 w 8292198"/>
                <a:gd name="connsiteY6" fmla="*/ 3449821 h 5242431"/>
                <a:gd name="connsiteX7" fmla="*/ 8280323 w 8292198"/>
                <a:gd name="connsiteY7" fmla="*/ 3841705 h 5242431"/>
                <a:gd name="connsiteX8" fmla="*/ 6938411 w 8292198"/>
                <a:gd name="connsiteY8" fmla="*/ 4993612 h 5242431"/>
                <a:gd name="connsiteX9" fmla="*/ 5572748 w 8292198"/>
                <a:gd name="connsiteY9" fmla="*/ 4364220 h 5242431"/>
                <a:gd name="connsiteX10" fmla="*/ 3993330 w 8292198"/>
                <a:gd name="connsiteY10" fmla="*/ 5219244 h 5242431"/>
                <a:gd name="connsiteX11" fmla="*/ 2770172 w 8292198"/>
                <a:gd name="connsiteY11" fmla="*/ 4174215 h 5242431"/>
                <a:gd name="connsiteX12" fmla="*/ 1463889 w 8292198"/>
                <a:gd name="connsiteY12" fmla="*/ 4423599 h 5242431"/>
                <a:gd name="connsiteX13" fmla="*/ 62599 w 8292198"/>
                <a:gd name="connsiteY13" fmla="*/ 3711077 h 5242431"/>
                <a:gd name="connsiteX14" fmla="*/ 50723 w 8292198"/>
                <a:gd name="connsiteY14" fmla="*/ 3532948 h 5242431"/>
                <a:gd name="connsiteX0" fmla="*/ 50723 w 8292198"/>
                <a:gd name="connsiteY0" fmla="*/ 3532948 h 5242431"/>
                <a:gd name="connsiteX1" fmla="*/ 2081759 w 8292198"/>
                <a:gd name="connsiteY1" fmla="*/ 22698 h 5242431"/>
                <a:gd name="connsiteX2" fmla="*/ 3447216 w 8292198"/>
                <a:gd name="connsiteY2" fmla="*/ 3245987 h 5242431"/>
                <a:gd name="connsiteX3" fmla="*/ 4761677 w 8292198"/>
                <a:gd name="connsiteY3" fmla="*/ 822143 h 5242431"/>
                <a:gd name="connsiteX4" fmla="*/ 6160446 w 8292198"/>
                <a:gd name="connsiteY4" fmla="*/ 3091607 h 5242431"/>
                <a:gd name="connsiteX5" fmla="*/ 8292198 w 8292198"/>
                <a:gd name="connsiteY5" fmla="*/ 3449821 h 5242431"/>
                <a:gd name="connsiteX6" fmla="*/ 8280323 w 8292198"/>
                <a:gd name="connsiteY6" fmla="*/ 3841705 h 5242431"/>
                <a:gd name="connsiteX7" fmla="*/ 6938411 w 8292198"/>
                <a:gd name="connsiteY7" fmla="*/ 4993612 h 5242431"/>
                <a:gd name="connsiteX8" fmla="*/ 5572748 w 8292198"/>
                <a:gd name="connsiteY8" fmla="*/ 4364220 h 5242431"/>
                <a:gd name="connsiteX9" fmla="*/ 3993330 w 8292198"/>
                <a:gd name="connsiteY9" fmla="*/ 5219244 h 5242431"/>
                <a:gd name="connsiteX10" fmla="*/ 2770172 w 8292198"/>
                <a:gd name="connsiteY10" fmla="*/ 4174215 h 5242431"/>
                <a:gd name="connsiteX11" fmla="*/ 1463889 w 8292198"/>
                <a:gd name="connsiteY11" fmla="*/ 4423599 h 5242431"/>
                <a:gd name="connsiteX12" fmla="*/ 62599 w 8292198"/>
                <a:gd name="connsiteY12" fmla="*/ 3711077 h 5242431"/>
                <a:gd name="connsiteX13" fmla="*/ 50723 w 8292198"/>
                <a:gd name="connsiteY13" fmla="*/ 3532948 h 5242431"/>
                <a:gd name="connsiteX0" fmla="*/ 50723 w 8280323"/>
                <a:gd name="connsiteY0" fmla="*/ 3532948 h 5242431"/>
                <a:gd name="connsiteX1" fmla="*/ 2081759 w 8280323"/>
                <a:gd name="connsiteY1" fmla="*/ 22698 h 5242431"/>
                <a:gd name="connsiteX2" fmla="*/ 3447216 w 8280323"/>
                <a:gd name="connsiteY2" fmla="*/ 3245987 h 5242431"/>
                <a:gd name="connsiteX3" fmla="*/ 4761677 w 8280323"/>
                <a:gd name="connsiteY3" fmla="*/ 822143 h 5242431"/>
                <a:gd name="connsiteX4" fmla="*/ 6160446 w 8280323"/>
                <a:gd name="connsiteY4" fmla="*/ 3091607 h 5242431"/>
                <a:gd name="connsiteX5" fmla="*/ 7387005 w 8280323"/>
                <a:gd name="connsiteY5" fmla="*/ 3610420 h 5242431"/>
                <a:gd name="connsiteX6" fmla="*/ 8280323 w 8280323"/>
                <a:gd name="connsiteY6" fmla="*/ 3841705 h 5242431"/>
                <a:gd name="connsiteX7" fmla="*/ 6938411 w 8280323"/>
                <a:gd name="connsiteY7" fmla="*/ 4993612 h 5242431"/>
                <a:gd name="connsiteX8" fmla="*/ 5572748 w 8280323"/>
                <a:gd name="connsiteY8" fmla="*/ 4364220 h 5242431"/>
                <a:gd name="connsiteX9" fmla="*/ 3993330 w 8280323"/>
                <a:gd name="connsiteY9" fmla="*/ 5219244 h 5242431"/>
                <a:gd name="connsiteX10" fmla="*/ 2770172 w 8280323"/>
                <a:gd name="connsiteY10" fmla="*/ 4174215 h 5242431"/>
                <a:gd name="connsiteX11" fmla="*/ 1463889 w 8280323"/>
                <a:gd name="connsiteY11" fmla="*/ 4423599 h 5242431"/>
                <a:gd name="connsiteX12" fmla="*/ 62599 w 8280323"/>
                <a:gd name="connsiteY12" fmla="*/ 3711077 h 5242431"/>
                <a:gd name="connsiteX13" fmla="*/ 50723 w 8280323"/>
                <a:gd name="connsiteY13" fmla="*/ 3532948 h 5242431"/>
                <a:gd name="connsiteX0" fmla="*/ 50723 w 7387005"/>
                <a:gd name="connsiteY0" fmla="*/ 3532948 h 5242431"/>
                <a:gd name="connsiteX1" fmla="*/ 2081759 w 7387005"/>
                <a:gd name="connsiteY1" fmla="*/ 22698 h 5242431"/>
                <a:gd name="connsiteX2" fmla="*/ 3447216 w 7387005"/>
                <a:gd name="connsiteY2" fmla="*/ 3245987 h 5242431"/>
                <a:gd name="connsiteX3" fmla="*/ 4761677 w 7387005"/>
                <a:gd name="connsiteY3" fmla="*/ 822143 h 5242431"/>
                <a:gd name="connsiteX4" fmla="*/ 6160446 w 7387005"/>
                <a:gd name="connsiteY4" fmla="*/ 3091607 h 5242431"/>
                <a:gd name="connsiteX5" fmla="*/ 7387005 w 7387005"/>
                <a:gd name="connsiteY5" fmla="*/ 3610420 h 5242431"/>
                <a:gd name="connsiteX6" fmla="*/ 7287531 w 7387005"/>
                <a:gd name="connsiteY6" fmla="*/ 3695706 h 5242431"/>
                <a:gd name="connsiteX7" fmla="*/ 6938411 w 7387005"/>
                <a:gd name="connsiteY7" fmla="*/ 4993612 h 5242431"/>
                <a:gd name="connsiteX8" fmla="*/ 5572748 w 7387005"/>
                <a:gd name="connsiteY8" fmla="*/ 4364220 h 5242431"/>
                <a:gd name="connsiteX9" fmla="*/ 3993330 w 7387005"/>
                <a:gd name="connsiteY9" fmla="*/ 5219244 h 5242431"/>
                <a:gd name="connsiteX10" fmla="*/ 2770172 w 7387005"/>
                <a:gd name="connsiteY10" fmla="*/ 4174215 h 5242431"/>
                <a:gd name="connsiteX11" fmla="*/ 1463889 w 7387005"/>
                <a:gd name="connsiteY11" fmla="*/ 4423599 h 5242431"/>
                <a:gd name="connsiteX12" fmla="*/ 62599 w 7387005"/>
                <a:gd name="connsiteY12" fmla="*/ 3711077 h 5242431"/>
                <a:gd name="connsiteX13" fmla="*/ 50723 w 7387005"/>
                <a:gd name="connsiteY13" fmla="*/ 3532948 h 5242431"/>
                <a:gd name="connsiteX0" fmla="*/ 50723 w 7387005"/>
                <a:gd name="connsiteY0" fmla="*/ 3532948 h 5245446"/>
                <a:gd name="connsiteX1" fmla="*/ 2081759 w 7387005"/>
                <a:gd name="connsiteY1" fmla="*/ 22698 h 5245446"/>
                <a:gd name="connsiteX2" fmla="*/ 3447216 w 7387005"/>
                <a:gd name="connsiteY2" fmla="*/ 3245987 h 5245446"/>
                <a:gd name="connsiteX3" fmla="*/ 4761677 w 7387005"/>
                <a:gd name="connsiteY3" fmla="*/ 822143 h 5245446"/>
                <a:gd name="connsiteX4" fmla="*/ 6160446 w 7387005"/>
                <a:gd name="connsiteY4" fmla="*/ 3091607 h 5245446"/>
                <a:gd name="connsiteX5" fmla="*/ 7387005 w 7387005"/>
                <a:gd name="connsiteY5" fmla="*/ 3610420 h 5245446"/>
                <a:gd name="connsiteX6" fmla="*/ 7287531 w 7387005"/>
                <a:gd name="connsiteY6" fmla="*/ 3695706 h 5245446"/>
                <a:gd name="connsiteX7" fmla="*/ 5572748 w 7387005"/>
                <a:gd name="connsiteY7" fmla="*/ 4364220 h 5245446"/>
                <a:gd name="connsiteX8" fmla="*/ 3993330 w 7387005"/>
                <a:gd name="connsiteY8" fmla="*/ 5219244 h 5245446"/>
                <a:gd name="connsiteX9" fmla="*/ 2770172 w 7387005"/>
                <a:gd name="connsiteY9" fmla="*/ 4174215 h 5245446"/>
                <a:gd name="connsiteX10" fmla="*/ 1463889 w 7387005"/>
                <a:gd name="connsiteY10" fmla="*/ 4423599 h 5245446"/>
                <a:gd name="connsiteX11" fmla="*/ 62599 w 7387005"/>
                <a:gd name="connsiteY11" fmla="*/ 3711077 h 5245446"/>
                <a:gd name="connsiteX12" fmla="*/ 50723 w 7387005"/>
                <a:gd name="connsiteY12" fmla="*/ 3532948 h 5245446"/>
                <a:gd name="connsiteX0" fmla="*/ 50723 w 7499686"/>
                <a:gd name="connsiteY0" fmla="*/ 3532948 h 5244690"/>
                <a:gd name="connsiteX1" fmla="*/ 2081759 w 7499686"/>
                <a:gd name="connsiteY1" fmla="*/ 22698 h 5244690"/>
                <a:gd name="connsiteX2" fmla="*/ 3447216 w 7499686"/>
                <a:gd name="connsiteY2" fmla="*/ 3245987 h 5244690"/>
                <a:gd name="connsiteX3" fmla="*/ 4761677 w 7499686"/>
                <a:gd name="connsiteY3" fmla="*/ 822143 h 5244690"/>
                <a:gd name="connsiteX4" fmla="*/ 6160446 w 7499686"/>
                <a:gd name="connsiteY4" fmla="*/ 3091607 h 5244690"/>
                <a:gd name="connsiteX5" fmla="*/ 7387005 w 7499686"/>
                <a:gd name="connsiteY5" fmla="*/ 3610420 h 5244690"/>
                <a:gd name="connsiteX6" fmla="*/ 7499686 w 7499686"/>
                <a:gd name="connsiteY6" fmla="*/ 3865430 h 5244690"/>
                <a:gd name="connsiteX7" fmla="*/ 5572748 w 7499686"/>
                <a:gd name="connsiteY7" fmla="*/ 4364220 h 5244690"/>
                <a:gd name="connsiteX8" fmla="*/ 3993330 w 7499686"/>
                <a:gd name="connsiteY8" fmla="*/ 5219244 h 5244690"/>
                <a:gd name="connsiteX9" fmla="*/ 2770172 w 7499686"/>
                <a:gd name="connsiteY9" fmla="*/ 4174215 h 5244690"/>
                <a:gd name="connsiteX10" fmla="*/ 1463889 w 7499686"/>
                <a:gd name="connsiteY10" fmla="*/ 4423599 h 5244690"/>
                <a:gd name="connsiteX11" fmla="*/ 62599 w 7499686"/>
                <a:gd name="connsiteY11" fmla="*/ 3711077 h 5244690"/>
                <a:gd name="connsiteX12" fmla="*/ 50723 w 7499686"/>
                <a:gd name="connsiteY12" fmla="*/ 3532948 h 5244690"/>
                <a:gd name="connsiteX0" fmla="*/ 50723 w 7500154"/>
                <a:gd name="connsiteY0" fmla="*/ 3532948 h 5244690"/>
                <a:gd name="connsiteX1" fmla="*/ 2081759 w 7500154"/>
                <a:gd name="connsiteY1" fmla="*/ 22698 h 5244690"/>
                <a:gd name="connsiteX2" fmla="*/ 3447216 w 7500154"/>
                <a:gd name="connsiteY2" fmla="*/ 3245987 h 5244690"/>
                <a:gd name="connsiteX3" fmla="*/ 4761677 w 7500154"/>
                <a:gd name="connsiteY3" fmla="*/ 822143 h 5244690"/>
                <a:gd name="connsiteX4" fmla="*/ 6160446 w 7500154"/>
                <a:gd name="connsiteY4" fmla="*/ 3091607 h 5244690"/>
                <a:gd name="connsiteX5" fmla="*/ 7500154 w 7500154"/>
                <a:gd name="connsiteY5" fmla="*/ 3596276 h 5244690"/>
                <a:gd name="connsiteX6" fmla="*/ 7499686 w 7500154"/>
                <a:gd name="connsiteY6" fmla="*/ 3865430 h 5244690"/>
                <a:gd name="connsiteX7" fmla="*/ 5572748 w 7500154"/>
                <a:gd name="connsiteY7" fmla="*/ 4364220 h 5244690"/>
                <a:gd name="connsiteX8" fmla="*/ 3993330 w 7500154"/>
                <a:gd name="connsiteY8" fmla="*/ 5219244 h 5244690"/>
                <a:gd name="connsiteX9" fmla="*/ 2770172 w 7500154"/>
                <a:gd name="connsiteY9" fmla="*/ 4174215 h 5244690"/>
                <a:gd name="connsiteX10" fmla="*/ 1463889 w 7500154"/>
                <a:gd name="connsiteY10" fmla="*/ 4423599 h 5244690"/>
                <a:gd name="connsiteX11" fmla="*/ 62599 w 7500154"/>
                <a:gd name="connsiteY11" fmla="*/ 3711077 h 5244690"/>
                <a:gd name="connsiteX12" fmla="*/ 50723 w 7500154"/>
                <a:gd name="connsiteY12" fmla="*/ 3532948 h 5244690"/>
                <a:gd name="connsiteX0" fmla="*/ 50723 w 7500154"/>
                <a:gd name="connsiteY0" fmla="*/ 3532948 h 6489118"/>
                <a:gd name="connsiteX1" fmla="*/ 2081759 w 7500154"/>
                <a:gd name="connsiteY1" fmla="*/ 22698 h 6489118"/>
                <a:gd name="connsiteX2" fmla="*/ 3447216 w 7500154"/>
                <a:gd name="connsiteY2" fmla="*/ 3245987 h 6489118"/>
                <a:gd name="connsiteX3" fmla="*/ 4761677 w 7500154"/>
                <a:gd name="connsiteY3" fmla="*/ 822143 h 6489118"/>
                <a:gd name="connsiteX4" fmla="*/ 6160446 w 7500154"/>
                <a:gd name="connsiteY4" fmla="*/ 3091607 h 6489118"/>
                <a:gd name="connsiteX5" fmla="*/ 7500154 w 7500154"/>
                <a:gd name="connsiteY5" fmla="*/ 3596276 h 6489118"/>
                <a:gd name="connsiteX6" fmla="*/ 7499686 w 7500154"/>
                <a:gd name="connsiteY6" fmla="*/ 3865430 h 6489118"/>
                <a:gd name="connsiteX7" fmla="*/ 5572748 w 7500154"/>
                <a:gd name="connsiteY7" fmla="*/ 4364220 h 6489118"/>
                <a:gd name="connsiteX8" fmla="*/ 4780966 w 7500154"/>
                <a:gd name="connsiteY8" fmla="*/ 6477110 h 6489118"/>
                <a:gd name="connsiteX9" fmla="*/ 2770172 w 7500154"/>
                <a:gd name="connsiteY9" fmla="*/ 4174215 h 6489118"/>
                <a:gd name="connsiteX10" fmla="*/ 1463889 w 7500154"/>
                <a:gd name="connsiteY10" fmla="*/ 4423599 h 6489118"/>
                <a:gd name="connsiteX11" fmla="*/ 62599 w 7500154"/>
                <a:gd name="connsiteY11" fmla="*/ 3711077 h 6489118"/>
                <a:gd name="connsiteX12" fmla="*/ 50723 w 7500154"/>
                <a:gd name="connsiteY12" fmla="*/ 3532948 h 6489118"/>
                <a:gd name="connsiteX0" fmla="*/ 50723 w 7500154"/>
                <a:gd name="connsiteY0" fmla="*/ 3532948 h 6477783"/>
                <a:gd name="connsiteX1" fmla="*/ 2081759 w 7500154"/>
                <a:gd name="connsiteY1" fmla="*/ 22698 h 6477783"/>
                <a:gd name="connsiteX2" fmla="*/ 3447216 w 7500154"/>
                <a:gd name="connsiteY2" fmla="*/ 3245987 h 6477783"/>
                <a:gd name="connsiteX3" fmla="*/ 4761677 w 7500154"/>
                <a:gd name="connsiteY3" fmla="*/ 822143 h 6477783"/>
                <a:gd name="connsiteX4" fmla="*/ 6160446 w 7500154"/>
                <a:gd name="connsiteY4" fmla="*/ 3091607 h 6477783"/>
                <a:gd name="connsiteX5" fmla="*/ 7500154 w 7500154"/>
                <a:gd name="connsiteY5" fmla="*/ 3596276 h 6477783"/>
                <a:gd name="connsiteX6" fmla="*/ 7499686 w 7500154"/>
                <a:gd name="connsiteY6" fmla="*/ 3865430 h 6477783"/>
                <a:gd name="connsiteX7" fmla="*/ 5572748 w 7500154"/>
                <a:gd name="connsiteY7" fmla="*/ 4364220 h 6477783"/>
                <a:gd name="connsiteX8" fmla="*/ 4780966 w 7500154"/>
                <a:gd name="connsiteY8" fmla="*/ 6477110 h 6477783"/>
                <a:gd name="connsiteX9" fmla="*/ 2770172 w 7500154"/>
                <a:gd name="connsiteY9" fmla="*/ 4174215 h 6477783"/>
                <a:gd name="connsiteX10" fmla="*/ 1463889 w 7500154"/>
                <a:gd name="connsiteY10" fmla="*/ 4423599 h 6477783"/>
                <a:gd name="connsiteX11" fmla="*/ 62599 w 7500154"/>
                <a:gd name="connsiteY11" fmla="*/ 3711077 h 6477783"/>
                <a:gd name="connsiteX12" fmla="*/ 50723 w 7500154"/>
                <a:gd name="connsiteY12" fmla="*/ 3532948 h 6477783"/>
                <a:gd name="connsiteX0" fmla="*/ 50723 w 7500154"/>
                <a:gd name="connsiteY0" fmla="*/ 3532948 h 6477244"/>
                <a:gd name="connsiteX1" fmla="*/ 2081759 w 7500154"/>
                <a:gd name="connsiteY1" fmla="*/ 22698 h 6477244"/>
                <a:gd name="connsiteX2" fmla="*/ 3447216 w 7500154"/>
                <a:gd name="connsiteY2" fmla="*/ 3245987 h 6477244"/>
                <a:gd name="connsiteX3" fmla="*/ 4761677 w 7500154"/>
                <a:gd name="connsiteY3" fmla="*/ 822143 h 6477244"/>
                <a:gd name="connsiteX4" fmla="*/ 6160446 w 7500154"/>
                <a:gd name="connsiteY4" fmla="*/ 3091607 h 6477244"/>
                <a:gd name="connsiteX5" fmla="*/ 7500154 w 7500154"/>
                <a:gd name="connsiteY5" fmla="*/ 3596276 h 6477244"/>
                <a:gd name="connsiteX6" fmla="*/ 7499686 w 7500154"/>
                <a:gd name="connsiteY6" fmla="*/ 3865430 h 6477244"/>
                <a:gd name="connsiteX7" fmla="*/ 5972443 w 7500154"/>
                <a:gd name="connsiteY7" fmla="*/ 4281930 h 6477244"/>
                <a:gd name="connsiteX8" fmla="*/ 4780966 w 7500154"/>
                <a:gd name="connsiteY8" fmla="*/ 6477110 h 6477244"/>
                <a:gd name="connsiteX9" fmla="*/ 2770172 w 7500154"/>
                <a:gd name="connsiteY9" fmla="*/ 4174215 h 6477244"/>
                <a:gd name="connsiteX10" fmla="*/ 1463889 w 7500154"/>
                <a:gd name="connsiteY10" fmla="*/ 4423599 h 6477244"/>
                <a:gd name="connsiteX11" fmla="*/ 62599 w 7500154"/>
                <a:gd name="connsiteY11" fmla="*/ 3711077 h 6477244"/>
                <a:gd name="connsiteX12" fmla="*/ 50723 w 7500154"/>
                <a:gd name="connsiteY12" fmla="*/ 3532948 h 6477244"/>
                <a:gd name="connsiteX0" fmla="*/ 50723 w 7500154"/>
                <a:gd name="connsiteY0" fmla="*/ 3532948 h 6477215"/>
                <a:gd name="connsiteX1" fmla="*/ 2081759 w 7500154"/>
                <a:gd name="connsiteY1" fmla="*/ 22698 h 6477215"/>
                <a:gd name="connsiteX2" fmla="*/ 3447216 w 7500154"/>
                <a:gd name="connsiteY2" fmla="*/ 3245987 h 6477215"/>
                <a:gd name="connsiteX3" fmla="*/ 4761677 w 7500154"/>
                <a:gd name="connsiteY3" fmla="*/ 822143 h 6477215"/>
                <a:gd name="connsiteX4" fmla="*/ 6160446 w 7500154"/>
                <a:gd name="connsiteY4" fmla="*/ 3091607 h 6477215"/>
                <a:gd name="connsiteX5" fmla="*/ 7500154 w 7500154"/>
                <a:gd name="connsiteY5" fmla="*/ 3596276 h 6477215"/>
                <a:gd name="connsiteX6" fmla="*/ 7499686 w 7500154"/>
                <a:gd name="connsiteY6" fmla="*/ 3865430 h 6477215"/>
                <a:gd name="connsiteX7" fmla="*/ 5972443 w 7500154"/>
                <a:gd name="connsiteY7" fmla="*/ 4281930 h 6477215"/>
                <a:gd name="connsiteX8" fmla="*/ 4780966 w 7500154"/>
                <a:gd name="connsiteY8" fmla="*/ 6477110 h 6477215"/>
                <a:gd name="connsiteX9" fmla="*/ 3452005 w 7500154"/>
                <a:gd name="connsiteY9" fmla="*/ 4385819 h 6477215"/>
                <a:gd name="connsiteX10" fmla="*/ 1463889 w 7500154"/>
                <a:gd name="connsiteY10" fmla="*/ 4423599 h 6477215"/>
                <a:gd name="connsiteX11" fmla="*/ 62599 w 7500154"/>
                <a:gd name="connsiteY11" fmla="*/ 3711077 h 6477215"/>
                <a:gd name="connsiteX12" fmla="*/ 50723 w 7500154"/>
                <a:gd name="connsiteY12" fmla="*/ 3532948 h 6477215"/>
                <a:gd name="connsiteX0" fmla="*/ 50723 w 7500154"/>
                <a:gd name="connsiteY0" fmla="*/ 3532948 h 6477814"/>
                <a:gd name="connsiteX1" fmla="*/ 2081759 w 7500154"/>
                <a:gd name="connsiteY1" fmla="*/ 22698 h 6477814"/>
                <a:gd name="connsiteX2" fmla="*/ 3447216 w 7500154"/>
                <a:gd name="connsiteY2" fmla="*/ 3245987 h 6477814"/>
                <a:gd name="connsiteX3" fmla="*/ 4761677 w 7500154"/>
                <a:gd name="connsiteY3" fmla="*/ 822143 h 6477814"/>
                <a:gd name="connsiteX4" fmla="*/ 6160446 w 7500154"/>
                <a:gd name="connsiteY4" fmla="*/ 3091607 h 6477814"/>
                <a:gd name="connsiteX5" fmla="*/ 7500154 w 7500154"/>
                <a:gd name="connsiteY5" fmla="*/ 3596276 h 6477814"/>
                <a:gd name="connsiteX6" fmla="*/ 7499686 w 7500154"/>
                <a:gd name="connsiteY6" fmla="*/ 3865430 h 6477814"/>
                <a:gd name="connsiteX7" fmla="*/ 5972443 w 7500154"/>
                <a:gd name="connsiteY7" fmla="*/ 4281930 h 6477814"/>
                <a:gd name="connsiteX8" fmla="*/ 4780966 w 7500154"/>
                <a:gd name="connsiteY8" fmla="*/ 6477110 h 6477814"/>
                <a:gd name="connsiteX9" fmla="*/ 3452005 w 7500154"/>
                <a:gd name="connsiteY9" fmla="*/ 4385819 h 6477814"/>
                <a:gd name="connsiteX10" fmla="*/ 1463889 w 7500154"/>
                <a:gd name="connsiteY10" fmla="*/ 4423599 h 6477814"/>
                <a:gd name="connsiteX11" fmla="*/ 62599 w 7500154"/>
                <a:gd name="connsiteY11" fmla="*/ 3711077 h 6477814"/>
                <a:gd name="connsiteX12" fmla="*/ 50723 w 7500154"/>
                <a:gd name="connsiteY12" fmla="*/ 3532948 h 6477814"/>
                <a:gd name="connsiteX0" fmla="*/ 50723 w 7500154"/>
                <a:gd name="connsiteY0" fmla="*/ 3532948 h 7413935"/>
                <a:gd name="connsiteX1" fmla="*/ 2081759 w 7500154"/>
                <a:gd name="connsiteY1" fmla="*/ 22698 h 7413935"/>
                <a:gd name="connsiteX2" fmla="*/ 3447216 w 7500154"/>
                <a:gd name="connsiteY2" fmla="*/ 3245987 h 7413935"/>
                <a:gd name="connsiteX3" fmla="*/ 4761677 w 7500154"/>
                <a:gd name="connsiteY3" fmla="*/ 822143 h 7413935"/>
                <a:gd name="connsiteX4" fmla="*/ 6160446 w 7500154"/>
                <a:gd name="connsiteY4" fmla="*/ 3091607 h 7413935"/>
                <a:gd name="connsiteX5" fmla="*/ 7500154 w 7500154"/>
                <a:gd name="connsiteY5" fmla="*/ 3596276 h 7413935"/>
                <a:gd name="connsiteX6" fmla="*/ 7499686 w 7500154"/>
                <a:gd name="connsiteY6" fmla="*/ 3865430 h 7413935"/>
                <a:gd name="connsiteX7" fmla="*/ 5972443 w 7500154"/>
                <a:gd name="connsiteY7" fmla="*/ 4281930 h 7413935"/>
                <a:gd name="connsiteX8" fmla="*/ 4780966 w 7500154"/>
                <a:gd name="connsiteY8" fmla="*/ 6477110 h 7413935"/>
                <a:gd name="connsiteX9" fmla="*/ 3452005 w 7500154"/>
                <a:gd name="connsiteY9" fmla="*/ 4385819 h 7413935"/>
                <a:gd name="connsiteX10" fmla="*/ 2039921 w 7500154"/>
                <a:gd name="connsiteY10" fmla="*/ 7292002 h 7413935"/>
                <a:gd name="connsiteX11" fmla="*/ 62599 w 7500154"/>
                <a:gd name="connsiteY11" fmla="*/ 3711077 h 7413935"/>
                <a:gd name="connsiteX12" fmla="*/ 50723 w 7500154"/>
                <a:gd name="connsiteY12" fmla="*/ 3532948 h 7413935"/>
                <a:gd name="connsiteX0" fmla="*/ 50723 w 7500154"/>
                <a:gd name="connsiteY0" fmla="*/ 3532948 h 7413935"/>
                <a:gd name="connsiteX1" fmla="*/ 2081759 w 7500154"/>
                <a:gd name="connsiteY1" fmla="*/ 22698 h 7413935"/>
                <a:gd name="connsiteX2" fmla="*/ 3447216 w 7500154"/>
                <a:gd name="connsiteY2" fmla="*/ 3245987 h 7413935"/>
                <a:gd name="connsiteX3" fmla="*/ 4761677 w 7500154"/>
                <a:gd name="connsiteY3" fmla="*/ 822143 h 7413935"/>
                <a:gd name="connsiteX4" fmla="*/ 6160446 w 7500154"/>
                <a:gd name="connsiteY4" fmla="*/ 3091607 h 7413935"/>
                <a:gd name="connsiteX5" fmla="*/ 7500154 w 7500154"/>
                <a:gd name="connsiteY5" fmla="*/ 3596276 h 7413935"/>
                <a:gd name="connsiteX6" fmla="*/ 7499686 w 7500154"/>
                <a:gd name="connsiteY6" fmla="*/ 3865430 h 7413935"/>
                <a:gd name="connsiteX7" fmla="*/ 5972443 w 7500154"/>
                <a:gd name="connsiteY7" fmla="*/ 4281930 h 7413935"/>
                <a:gd name="connsiteX8" fmla="*/ 4780966 w 7500154"/>
                <a:gd name="connsiteY8" fmla="*/ 6477110 h 7413935"/>
                <a:gd name="connsiteX9" fmla="*/ 3452005 w 7500154"/>
                <a:gd name="connsiteY9" fmla="*/ 4385819 h 7413935"/>
                <a:gd name="connsiteX10" fmla="*/ 2039921 w 7500154"/>
                <a:gd name="connsiteY10" fmla="*/ 7292002 h 7413935"/>
                <a:gd name="connsiteX11" fmla="*/ 62599 w 7500154"/>
                <a:gd name="connsiteY11" fmla="*/ 3711077 h 7413935"/>
                <a:gd name="connsiteX12" fmla="*/ 50723 w 7500154"/>
                <a:gd name="connsiteY12" fmla="*/ 3532948 h 7413935"/>
                <a:gd name="connsiteX0" fmla="*/ 50723 w 7500154"/>
                <a:gd name="connsiteY0" fmla="*/ 3532948 h 7413935"/>
                <a:gd name="connsiteX1" fmla="*/ 2081759 w 7500154"/>
                <a:gd name="connsiteY1" fmla="*/ 22698 h 7413935"/>
                <a:gd name="connsiteX2" fmla="*/ 3447216 w 7500154"/>
                <a:gd name="connsiteY2" fmla="*/ 3245987 h 7413935"/>
                <a:gd name="connsiteX3" fmla="*/ 4761677 w 7500154"/>
                <a:gd name="connsiteY3" fmla="*/ 822143 h 7413935"/>
                <a:gd name="connsiteX4" fmla="*/ 6160446 w 7500154"/>
                <a:gd name="connsiteY4" fmla="*/ 3091607 h 7413935"/>
                <a:gd name="connsiteX5" fmla="*/ 7500154 w 7500154"/>
                <a:gd name="connsiteY5" fmla="*/ 3596276 h 7413935"/>
                <a:gd name="connsiteX6" fmla="*/ 7499686 w 7500154"/>
                <a:gd name="connsiteY6" fmla="*/ 3865430 h 7413935"/>
                <a:gd name="connsiteX7" fmla="*/ 5972443 w 7500154"/>
                <a:gd name="connsiteY7" fmla="*/ 4281930 h 7413935"/>
                <a:gd name="connsiteX8" fmla="*/ 4780966 w 7500154"/>
                <a:gd name="connsiteY8" fmla="*/ 6477110 h 7413935"/>
                <a:gd name="connsiteX9" fmla="*/ 3452005 w 7500154"/>
                <a:gd name="connsiteY9" fmla="*/ 4385819 h 7413935"/>
                <a:gd name="connsiteX10" fmla="*/ 2039921 w 7500154"/>
                <a:gd name="connsiteY10" fmla="*/ 7292002 h 7413935"/>
                <a:gd name="connsiteX11" fmla="*/ 62599 w 7500154"/>
                <a:gd name="connsiteY11" fmla="*/ 3711077 h 7413935"/>
                <a:gd name="connsiteX12" fmla="*/ 50723 w 7500154"/>
                <a:gd name="connsiteY12" fmla="*/ 3532948 h 7413935"/>
                <a:gd name="connsiteX0" fmla="*/ 50723 w 7500154"/>
                <a:gd name="connsiteY0" fmla="*/ 3532948 h 7413935"/>
                <a:gd name="connsiteX1" fmla="*/ 2081759 w 7500154"/>
                <a:gd name="connsiteY1" fmla="*/ 22698 h 7413935"/>
                <a:gd name="connsiteX2" fmla="*/ 3447216 w 7500154"/>
                <a:gd name="connsiteY2" fmla="*/ 3245987 h 7413935"/>
                <a:gd name="connsiteX3" fmla="*/ 4761677 w 7500154"/>
                <a:gd name="connsiteY3" fmla="*/ 822143 h 7413935"/>
                <a:gd name="connsiteX4" fmla="*/ 6160446 w 7500154"/>
                <a:gd name="connsiteY4" fmla="*/ 3091607 h 7413935"/>
                <a:gd name="connsiteX5" fmla="*/ 7500154 w 7500154"/>
                <a:gd name="connsiteY5" fmla="*/ 3596276 h 7413935"/>
                <a:gd name="connsiteX6" fmla="*/ 7499686 w 7500154"/>
                <a:gd name="connsiteY6" fmla="*/ 3865430 h 7413935"/>
                <a:gd name="connsiteX7" fmla="*/ 5972443 w 7500154"/>
                <a:gd name="connsiteY7" fmla="*/ 4281930 h 7413935"/>
                <a:gd name="connsiteX8" fmla="*/ 4780966 w 7500154"/>
                <a:gd name="connsiteY8" fmla="*/ 6477110 h 7413935"/>
                <a:gd name="connsiteX9" fmla="*/ 3452005 w 7500154"/>
                <a:gd name="connsiteY9" fmla="*/ 4385819 h 7413935"/>
                <a:gd name="connsiteX10" fmla="*/ 2039921 w 7500154"/>
                <a:gd name="connsiteY10" fmla="*/ 7292002 h 7413935"/>
                <a:gd name="connsiteX11" fmla="*/ 62599 w 7500154"/>
                <a:gd name="connsiteY11" fmla="*/ 3711077 h 7413935"/>
                <a:gd name="connsiteX12" fmla="*/ 50723 w 7500154"/>
                <a:gd name="connsiteY12" fmla="*/ 3532948 h 7413935"/>
                <a:gd name="connsiteX0" fmla="*/ 50723 w 7500154"/>
                <a:gd name="connsiteY0" fmla="*/ 3532948 h 7413935"/>
                <a:gd name="connsiteX1" fmla="*/ 2081759 w 7500154"/>
                <a:gd name="connsiteY1" fmla="*/ 22698 h 7413935"/>
                <a:gd name="connsiteX2" fmla="*/ 3447216 w 7500154"/>
                <a:gd name="connsiteY2" fmla="*/ 3245987 h 7413935"/>
                <a:gd name="connsiteX3" fmla="*/ 4761677 w 7500154"/>
                <a:gd name="connsiteY3" fmla="*/ 822143 h 7413935"/>
                <a:gd name="connsiteX4" fmla="*/ 6160446 w 7500154"/>
                <a:gd name="connsiteY4" fmla="*/ 3091607 h 7413935"/>
                <a:gd name="connsiteX5" fmla="*/ 7500154 w 7500154"/>
                <a:gd name="connsiteY5" fmla="*/ 3596276 h 7413935"/>
                <a:gd name="connsiteX6" fmla="*/ 7499686 w 7500154"/>
                <a:gd name="connsiteY6" fmla="*/ 3865430 h 7413935"/>
                <a:gd name="connsiteX7" fmla="*/ 5972443 w 7500154"/>
                <a:gd name="connsiteY7" fmla="*/ 4281930 h 7413935"/>
                <a:gd name="connsiteX8" fmla="*/ 4780966 w 7500154"/>
                <a:gd name="connsiteY8" fmla="*/ 6477110 h 7413935"/>
                <a:gd name="connsiteX9" fmla="*/ 3452005 w 7500154"/>
                <a:gd name="connsiteY9" fmla="*/ 4385819 h 7413935"/>
                <a:gd name="connsiteX10" fmla="*/ 1898852 w 7500154"/>
                <a:gd name="connsiteY10" fmla="*/ 7292002 h 7413935"/>
                <a:gd name="connsiteX11" fmla="*/ 62599 w 7500154"/>
                <a:gd name="connsiteY11" fmla="*/ 3711077 h 7413935"/>
                <a:gd name="connsiteX12" fmla="*/ 50723 w 7500154"/>
                <a:gd name="connsiteY12" fmla="*/ 3532948 h 7413935"/>
                <a:gd name="connsiteX0" fmla="*/ 50723 w 7500154"/>
                <a:gd name="connsiteY0" fmla="*/ 3532948 h 7405434"/>
                <a:gd name="connsiteX1" fmla="*/ 2081759 w 7500154"/>
                <a:gd name="connsiteY1" fmla="*/ 22698 h 7405434"/>
                <a:gd name="connsiteX2" fmla="*/ 3447216 w 7500154"/>
                <a:gd name="connsiteY2" fmla="*/ 3245987 h 7405434"/>
                <a:gd name="connsiteX3" fmla="*/ 4761677 w 7500154"/>
                <a:gd name="connsiteY3" fmla="*/ 822143 h 7405434"/>
                <a:gd name="connsiteX4" fmla="*/ 6160446 w 7500154"/>
                <a:gd name="connsiteY4" fmla="*/ 3091607 h 7405434"/>
                <a:gd name="connsiteX5" fmla="*/ 7500154 w 7500154"/>
                <a:gd name="connsiteY5" fmla="*/ 3596276 h 7405434"/>
                <a:gd name="connsiteX6" fmla="*/ 7499686 w 7500154"/>
                <a:gd name="connsiteY6" fmla="*/ 3865430 h 7405434"/>
                <a:gd name="connsiteX7" fmla="*/ 5972443 w 7500154"/>
                <a:gd name="connsiteY7" fmla="*/ 4281930 h 7405434"/>
                <a:gd name="connsiteX8" fmla="*/ 4780966 w 7500154"/>
                <a:gd name="connsiteY8" fmla="*/ 6477110 h 7405434"/>
                <a:gd name="connsiteX9" fmla="*/ 3452005 w 7500154"/>
                <a:gd name="connsiteY9" fmla="*/ 4385819 h 7405434"/>
                <a:gd name="connsiteX10" fmla="*/ 1898852 w 7500154"/>
                <a:gd name="connsiteY10" fmla="*/ 7292002 h 7405434"/>
                <a:gd name="connsiteX11" fmla="*/ 62599 w 7500154"/>
                <a:gd name="connsiteY11" fmla="*/ 3711077 h 7405434"/>
                <a:gd name="connsiteX12" fmla="*/ 50723 w 7500154"/>
                <a:gd name="connsiteY12" fmla="*/ 3532948 h 7405434"/>
                <a:gd name="connsiteX0" fmla="*/ 50723 w 7500154"/>
                <a:gd name="connsiteY0" fmla="*/ 3532948 h 7325380"/>
                <a:gd name="connsiteX1" fmla="*/ 2081759 w 7500154"/>
                <a:gd name="connsiteY1" fmla="*/ 22698 h 7325380"/>
                <a:gd name="connsiteX2" fmla="*/ 3447216 w 7500154"/>
                <a:gd name="connsiteY2" fmla="*/ 3245987 h 7325380"/>
                <a:gd name="connsiteX3" fmla="*/ 4761677 w 7500154"/>
                <a:gd name="connsiteY3" fmla="*/ 822143 h 7325380"/>
                <a:gd name="connsiteX4" fmla="*/ 6160446 w 7500154"/>
                <a:gd name="connsiteY4" fmla="*/ 3091607 h 7325380"/>
                <a:gd name="connsiteX5" fmla="*/ 7500154 w 7500154"/>
                <a:gd name="connsiteY5" fmla="*/ 3596276 h 7325380"/>
                <a:gd name="connsiteX6" fmla="*/ 7499686 w 7500154"/>
                <a:gd name="connsiteY6" fmla="*/ 3865430 h 7325380"/>
                <a:gd name="connsiteX7" fmla="*/ 5972443 w 7500154"/>
                <a:gd name="connsiteY7" fmla="*/ 4281930 h 7325380"/>
                <a:gd name="connsiteX8" fmla="*/ 4780966 w 7500154"/>
                <a:gd name="connsiteY8" fmla="*/ 6477110 h 7325380"/>
                <a:gd name="connsiteX9" fmla="*/ 3452005 w 7500154"/>
                <a:gd name="connsiteY9" fmla="*/ 4385819 h 7325380"/>
                <a:gd name="connsiteX10" fmla="*/ 1875341 w 7500154"/>
                <a:gd name="connsiteY10" fmla="*/ 7209712 h 7325380"/>
                <a:gd name="connsiteX11" fmla="*/ 62599 w 7500154"/>
                <a:gd name="connsiteY11" fmla="*/ 3711077 h 7325380"/>
                <a:gd name="connsiteX12" fmla="*/ 50723 w 7500154"/>
                <a:gd name="connsiteY12" fmla="*/ 3532948 h 7325380"/>
                <a:gd name="connsiteX0" fmla="*/ 50723 w 7500154"/>
                <a:gd name="connsiteY0" fmla="*/ 3532948 h 7325695"/>
                <a:gd name="connsiteX1" fmla="*/ 2081759 w 7500154"/>
                <a:gd name="connsiteY1" fmla="*/ 22698 h 7325695"/>
                <a:gd name="connsiteX2" fmla="*/ 3447216 w 7500154"/>
                <a:gd name="connsiteY2" fmla="*/ 3245987 h 7325695"/>
                <a:gd name="connsiteX3" fmla="*/ 4761677 w 7500154"/>
                <a:gd name="connsiteY3" fmla="*/ 822143 h 7325695"/>
                <a:gd name="connsiteX4" fmla="*/ 6160446 w 7500154"/>
                <a:gd name="connsiteY4" fmla="*/ 3091607 h 7325695"/>
                <a:gd name="connsiteX5" fmla="*/ 7500154 w 7500154"/>
                <a:gd name="connsiteY5" fmla="*/ 3596276 h 7325695"/>
                <a:gd name="connsiteX6" fmla="*/ 7499686 w 7500154"/>
                <a:gd name="connsiteY6" fmla="*/ 3865430 h 7325695"/>
                <a:gd name="connsiteX7" fmla="*/ 5972443 w 7500154"/>
                <a:gd name="connsiteY7" fmla="*/ 4281930 h 7325695"/>
                <a:gd name="connsiteX8" fmla="*/ 4780966 w 7500154"/>
                <a:gd name="connsiteY8" fmla="*/ 6477110 h 7325695"/>
                <a:gd name="connsiteX9" fmla="*/ 3452005 w 7500154"/>
                <a:gd name="connsiteY9" fmla="*/ 4385819 h 7325695"/>
                <a:gd name="connsiteX10" fmla="*/ 1875341 w 7500154"/>
                <a:gd name="connsiteY10" fmla="*/ 7209712 h 7325695"/>
                <a:gd name="connsiteX11" fmla="*/ 62599 w 7500154"/>
                <a:gd name="connsiteY11" fmla="*/ 3711077 h 7325695"/>
                <a:gd name="connsiteX12" fmla="*/ 50723 w 7500154"/>
                <a:gd name="connsiteY12" fmla="*/ 3532948 h 7325695"/>
                <a:gd name="connsiteX0" fmla="*/ 50723 w 7500154"/>
                <a:gd name="connsiteY0" fmla="*/ 3532948 h 7326330"/>
                <a:gd name="connsiteX1" fmla="*/ 2081759 w 7500154"/>
                <a:gd name="connsiteY1" fmla="*/ 22698 h 7326330"/>
                <a:gd name="connsiteX2" fmla="*/ 3447216 w 7500154"/>
                <a:gd name="connsiteY2" fmla="*/ 3245987 h 7326330"/>
                <a:gd name="connsiteX3" fmla="*/ 4761677 w 7500154"/>
                <a:gd name="connsiteY3" fmla="*/ 822143 h 7326330"/>
                <a:gd name="connsiteX4" fmla="*/ 6160446 w 7500154"/>
                <a:gd name="connsiteY4" fmla="*/ 3091607 h 7326330"/>
                <a:gd name="connsiteX5" fmla="*/ 7500154 w 7500154"/>
                <a:gd name="connsiteY5" fmla="*/ 3596276 h 7326330"/>
                <a:gd name="connsiteX6" fmla="*/ 7499686 w 7500154"/>
                <a:gd name="connsiteY6" fmla="*/ 3865430 h 7326330"/>
                <a:gd name="connsiteX7" fmla="*/ 5972443 w 7500154"/>
                <a:gd name="connsiteY7" fmla="*/ 4281930 h 7326330"/>
                <a:gd name="connsiteX8" fmla="*/ 4780966 w 7500154"/>
                <a:gd name="connsiteY8" fmla="*/ 6477110 h 7326330"/>
                <a:gd name="connsiteX9" fmla="*/ 3452005 w 7500154"/>
                <a:gd name="connsiteY9" fmla="*/ 4385819 h 7326330"/>
                <a:gd name="connsiteX10" fmla="*/ 1875341 w 7500154"/>
                <a:gd name="connsiteY10" fmla="*/ 7209712 h 7326330"/>
                <a:gd name="connsiteX11" fmla="*/ 62599 w 7500154"/>
                <a:gd name="connsiteY11" fmla="*/ 3711077 h 7326330"/>
                <a:gd name="connsiteX12" fmla="*/ 50723 w 7500154"/>
                <a:gd name="connsiteY12" fmla="*/ 3532948 h 7326330"/>
                <a:gd name="connsiteX0" fmla="*/ 50723 w 7500154"/>
                <a:gd name="connsiteY0" fmla="*/ 3532948 h 7326650"/>
                <a:gd name="connsiteX1" fmla="*/ 2081759 w 7500154"/>
                <a:gd name="connsiteY1" fmla="*/ 22698 h 7326650"/>
                <a:gd name="connsiteX2" fmla="*/ 3447216 w 7500154"/>
                <a:gd name="connsiteY2" fmla="*/ 3245987 h 7326650"/>
                <a:gd name="connsiteX3" fmla="*/ 4761677 w 7500154"/>
                <a:gd name="connsiteY3" fmla="*/ 822143 h 7326650"/>
                <a:gd name="connsiteX4" fmla="*/ 6160446 w 7500154"/>
                <a:gd name="connsiteY4" fmla="*/ 3091607 h 7326650"/>
                <a:gd name="connsiteX5" fmla="*/ 7500154 w 7500154"/>
                <a:gd name="connsiteY5" fmla="*/ 3596276 h 7326650"/>
                <a:gd name="connsiteX6" fmla="*/ 7499686 w 7500154"/>
                <a:gd name="connsiteY6" fmla="*/ 3865430 h 7326650"/>
                <a:gd name="connsiteX7" fmla="*/ 5972443 w 7500154"/>
                <a:gd name="connsiteY7" fmla="*/ 4281930 h 7326650"/>
                <a:gd name="connsiteX8" fmla="*/ 4780966 w 7500154"/>
                <a:gd name="connsiteY8" fmla="*/ 6477110 h 7326650"/>
                <a:gd name="connsiteX9" fmla="*/ 3452005 w 7500154"/>
                <a:gd name="connsiteY9" fmla="*/ 4385819 h 7326650"/>
                <a:gd name="connsiteX10" fmla="*/ 1875341 w 7500154"/>
                <a:gd name="connsiteY10" fmla="*/ 7209712 h 7326650"/>
                <a:gd name="connsiteX11" fmla="*/ 62599 w 7500154"/>
                <a:gd name="connsiteY11" fmla="*/ 3711077 h 7326650"/>
                <a:gd name="connsiteX12" fmla="*/ 50723 w 7500154"/>
                <a:gd name="connsiteY12" fmla="*/ 3532948 h 7326650"/>
                <a:gd name="connsiteX0" fmla="*/ 50723 w 7500154"/>
                <a:gd name="connsiteY0" fmla="*/ 3532948 h 7326650"/>
                <a:gd name="connsiteX1" fmla="*/ 2081759 w 7500154"/>
                <a:gd name="connsiteY1" fmla="*/ 22698 h 7326650"/>
                <a:gd name="connsiteX2" fmla="*/ 3447216 w 7500154"/>
                <a:gd name="connsiteY2" fmla="*/ 3245987 h 7326650"/>
                <a:gd name="connsiteX3" fmla="*/ 4761677 w 7500154"/>
                <a:gd name="connsiteY3" fmla="*/ 822143 h 7326650"/>
                <a:gd name="connsiteX4" fmla="*/ 6160446 w 7500154"/>
                <a:gd name="connsiteY4" fmla="*/ 3091607 h 7326650"/>
                <a:gd name="connsiteX5" fmla="*/ 7500154 w 7500154"/>
                <a:gd name="connsiteY5" fmla="*/ 3596276 h 7326650"/>
                <a:gd name="connsiteX6" fmla="*/ 7499686 w 7500154"/>
                <a:gd name="connsiteY6" fmla="*/ 3865430 h 7326650"/>
                <a:gd name="connsiteX7" fmla="*/ 5972443 w 7500154"/>
                <a:gd name="connsiteY7" fmla="*/ 4281930 h 7326650"/>
                <a:gd name="connsiteX8" fmla="*/ 4780966 w 7500154"/>
                <a:gd name="connsiteY8" fmla="*/ 6477110 h 7326650"/>
                <a:gd name="connsiteX9" fmla="*/ 3452005 w 7500154"/>
                <a:gd name="connsiteY9" fmla="*/ 4385819 h 7326650"/>
                <a:gd name="connsiteX10" fmla="*/ 1875341 w 7500154"/>
                <a:gd name="connsiteY10" fmla="*/ 7209712 h 7326650"/>
                <a:gd name="connsiteX11" fmla="*/ 62599 w 7500154"/>
                <a:gd name="connsiteY11" fmla="*/ 3711077 h 7326650"/>
                <a:gd name="connsiteX12" fmla="*/ 50723 w 7500154"/>
                <a:gd name="connsiteY12" fmla="*/ 3532948 h 7326650"/>
                <a:gd name="connsiteX0" fmla="*/ 50723 w 7500154"/>
                <a:gd name="connsiteY0" fmla="*/ 3532948 h 7326650"/>
                <a:gd name="connsiteX1" fmla="*/ 2081759 w 7500154"/>
                <a:gd name="connsiteY1" fmla="*/ 22698 h 7326650"/>
                <a:gd name="connsiteX2" fmla="*/ 3447216 w 7500154"/>
                <a:gd name="connsiteY2" fmla="*/ 3245987 h 7326650"/>
                <a:gd name="connsiteX3" fmla="*/ 4761677 w 7500154"/>
                <a:gd name="connsiteY3" fmla="*/ 822143 h 7326650"/>
                <a:gd name="connsiteX4" fmla="*/ 6160446 w 7500154"/>
                <a:gd name="connsiteY4" fmla="*/ 3091607 h 7326650"/>
                <a:gd name="connsiteX5" fmla="*/ 7500154 w 7500154"/>
                <a:gd name="connsiteY5" fmla="*/ 3596276 h 7326650"/>
                <a:gd name="connsiteX6" fmla="*/ 7499686 w 7500154"/>
                <a:gd name="connsiteY6" fmla="*/ 3865430 h 7326650"/>
                <a:gd name="connsiteX7" fmla="*/ 5972443 w 7500154"/>
                <a:gd name="connsiteY7" fmla="*/ 4281930 h 7326650"/>
                <a:gd name="connsiteX8" fmla="*/ 4780966 w 7500154"/>
                <a:gd name="connsiteY8" fmla="*/ 6477110 h 7326650"/>
                <a:gd name="connsiteX9" fmla="*/ 3452005 w 7500154"/>
                <a:gd name="connsiteY9" fmla="*/ 4385819 h 7326650"/>
                <a:gd name="connsiteX10" fmla="*/ 1875341 w 7500154"/>
                <a:gd name="connsiteY10" fmla="*/ 7209712 h 7326650"/>
                <a:gd name="connsiteX11" fmla="*/ 62599 w 7500154"/>
                <a:gd name="connsiteY11" fmla="*/ 3711077 h 7326650"/>
                <a:gd name="connsiteX12" fmla="*/ 50723 w 7500154"/>
                <a:gd name="connsiteY12" fmla="*/ 3532948 h 7326650"/>
                <a:gd name="connsiteX0" fmla="*/ 50723 w 7500154"/>
                <a:gd name="connsiteY0" fmla="*/ 3532948 h 7326650"/>
                <a:gd name="connsiteX1" fmla="*/ 2081759 w 7500154"/>
                <a:gd name="connsiteY1" fmla="*/ 22698 h 7326650"/>
                <a:gd name="connsiteX2" fmla="*/ 3447216 w 7500154"/>
                <a:gd name="connsiteY2" fmla="*/ 3245987 h 7326650"/>
                <a:gd name="connsiteX3" fmla="*/ 4761677 w 7500154"/>
                <a:gd name="connsiteY3" fmla="*/ 822143 h 7326650"/>
                <a:gd name="connsiteX4" fmla="*/ 6007622 w 7500154"/>
                <a:gd name="connsiteY4" fmla="*/ 3185654 h 7326650"/>
                <a:gd name="connsiteX5" fmla="*/ 7500154 w 7500154"/>
                <a:gd name="connsiteY5" fmla="*/ 3596276 h 7326650"/>
                <a:gd name="connsiteX6" fmla="*/ 7499686 w 7500154"/>
                <a:gd name="connsiteY6" fmla="*/ 3865430 h 7326650"/>
                <a:gd name="connsiteX7" fmla="*/ 5972443 w 7500154"/>
                <a:gd name="connsiteY7" fmla="*/ 4281930 h 7326650"/>
                <a:gd name="connsiteX8" fmla="*/ 4780966 w 7500154"/>
                <a:gd name="connsiteY8" fmla="*/ 6477110 h 7326650"/>
                <a:gd name="connsiteX9" fmla="*/ 3452005 w 7500154"/>
                <a:gd name="connsiteY9" fmla="*/ 4385819 h 7326650"/>
                <a:gd name="connsiteX10" fmla="*/ 1875341 w 7500154"/>
                <a:gd name="connsiteY10" fmla="*/ 7209712 h 7326650"/>
                <a:gd name="connsiteX11" fmla="*/ 62599 w 7500154"/>
                <a:gd name="connsiteY11" fmla="*/ 3711077 h 7326650"/>
                <a:gd name="connsiteX12" fmla="*/ 50723 w 7500154"/>
                <a:gd name="connsiteY12" fmla="*/ 3532948 h 7326650"/>
                <a:gd name="connsiteX0" fmla="*/ 50723 w 7500154"/>
                <a:gd name="connsiteY0" fmla="*/ 3532948 h 7326650"/>
                <a:gd name="connsiteX1" fmla="*/ 2081759 w 7500154"/>
                <a:gd name="connsiteY1" fmla="*/ 22698 h 7326650"/>
                <a:gd name="connsiteX2" fmla="*/ 3447216 w 7500154"/>
                <a:gd name="connsiteY2" fmla="*/ 3245987 h 7326650"/>
                <a:gd name="connsiteX3" fmla="*/ 4761677 w 7500154"/>
                <a:gd name="connsiteY3" fmla="*/ 822143 h 7326650"/>
                <a:gd name="connsiteX4" fmla="*/ 6066402 w 7500154"/>
                <a:gd name="connsiteY4" fmla="*/ 3021074 h 7326650"/>
                <a:gd name="connsiteX5" fmla="*/ 7500154 w 7500154"/>
                <a:gd name="connsiteY5" fmla="*/ 3596276 h 7326650"/>
                <a:gd name="connsiteX6" fmla="*/ 7499686 w 7500154"/>
                <a:gd name="connsiteY6" fmla="*/ 3865430 h 7326650"/>
                <a:gd name="connsiteX7" fmla="*/ 5972443 w 7500154"/>
                <a:gd name="connsiteY7" fmla="*/ 4281930 h 7326650"/>
                <a:gd name="connsiteX8" fmla="*/ 4780966 w 7500154"/>
                <a:gd name="connsiteY8" fmla="*/ 6477110 h 7326650"/>
                <a:gd name="connsiteX9" fmla="*/ 3452005 w 7500154"/>
                <a:gd name="connsiteY9" fmla="*/ 4385819 h 7326650"/>
                <a:gd name="connsiteX10" fmla="*/ 1875341 w 7500154"/>
                <a:gd name="connsiteY10" fmla="*/ 7209712 h 7326650"/>
                <a:gd name="connsiteX11" fmla="*/ 62599 w 7500154"/>
                <a:gd name="connsiteY11" fmla="*/ 3711077 h 7326650"/>
                <a:gd name="connsiteX12" fmla="*/ 50723 w 7500154"/>
                <a:gd name="connsiteY12" fmla="*/ 3532948 h 7326650"/>
                <a:gd name="connsiteX0" fmla="*/ 50723 w 7500154"/>
                <a:gd name="connsiteY0" fmla="*/ 3532948 h 7326650"/>
                <a:gd name="connsiteX1" fmla="*/ 2081759 w 7500154"/>
                <a:gd name="connsiteY1" fmla="*/ 22698 h 7326650"/>
                <a:gd name="connsiteX2" fmla="*/ 3447216 w 7500154"/>
                <a:gd name="connsiteY2" fmla="*/ 3245987 h 7326650"/>
                <a:gd name="connsiteX3" fmla="*/ 4761677 w 7500154"/>
                <a:gd name="connsiteY3" fmla="*/ 822143 h 7326650"/>
                <a:gd name="connsiteX4" fmla="*/ 6066402 w 7500154"/>
                <a:gd name="connsiteY4" fmla="*/ 3021074 h 7326650"/>
                <a:gd name="connsiteX5" fmla="*/ 7500154 w 7500154"/>
                <a:gd name="connsiteY5" fmla="*/ 3596276 h 7326650"/>
                <a:gd name="connsiteX6" fmla="*/ 7499686 w 7500154"/>
                <a:gd name="connsiteY6" fmla="*/ 3865430 h 7326650"/>
                <a:gd name="connsiteX7" fmla="*/ 5972443 w 7500154"/>
                <a:gd name="connsiteY7" fmla="*/ 4281930 h 7326650"/>
                <a:gd name="connsiteX8" fmla="*/ 4780966 w 7500154"/>
                <a:gd name="connsiteY8" fmla="*/ 6477110 h 7326650"/>
                <a:gd name="connsiteX9" fmla="*/ 3452005 w 7500154"/>
                <a:gd name="connsiteY9" fmla="*/ 4385819 h 7326650"/>
                <a:gd name="connsiteX10" fmla="*/ 1875341 w 7500154"/>
                <a:gd name="connsiteY10" fmla="*/ 7209712 h 7326650"/>
                <a:gd name="connsiteX11" fmla="*/ 62599 w 7500154"/>
                <a:gd name="connsiteY11" fmla="*/ 3711077 h 7326650"/>
                <a:gd name="connsiteX12" fmla="*/ 50723 w 7500154"/>
                <a:gd name="connsiteY12" fmla="*/ 3532948 h 7326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500154" h="7326650">
                  <a:moveTo>
                    <a:pt x="50723" y="3532948"/>
                  </a:moveTo>
                  <a:cubicBezTo>
                    <a:pt x="1778780" y="3017535"/>
                    <a:pt x="1346795" y="301114"/>
                    <a:pt x="2081759" y="22698"/>
                  </a:cubicBezTo>
                  <a:cubicBezTo>
                    <a:pt x="2970902" y="-314124"/>
                    <a:pt x="3011788" y="3208381"/>
                    <a:pt x="3447216" y="3245987"/>
                  </a:cubicBezTo>
                  <a:cubicBezTo>
                    <a:pt x="3852956" y="3293488"/>
                    <a:pt x="4054763" y="800849"/>
                    <a:pt x="4761677" y="822143"/>
                  </a:cubicBezTo>
                  <a:cubicBezTo>
                    <a:pt x="5468591" y="843437"/>
                    <a:pt x="5477982" y="2583128"/>
                    <a:pt x="6066402" y="3021074"/>
                  </a:cubicBezTo>
                  <a:cubicBezTo>
                    <a:pt x="6654822" y="3459020"/>
                    <a:pt x="7146841" y="3471260"/>
                    <a:pt x="7500154" y="3596276"/>
                  </a:cubicBezTo>
                  <a:lnTo>
                    <a:pt x="7499686" y="3865430"/>
                  </a:lnTo>
                  <a:cubicBezTo>
                    <a:pt x="7197310" y="3991063"/>
                    <a:pt x="6425563" y="3846650"/>
                    <a:pt x="5972443" y="4281930"/>
                  </a:cubicBezTo>
                  <a:cubicBezTo>
                    <a:pt x="5519323" y="4717210"/>
                    <a:pt x="5494932" y="6518574"/>
                    <a:pt x="4780966" y="6477110"/>
                  </a:cubicBezTo>
                  <a:cubicBezTo>
                    <a:pt x="4067000" y="6435646"/>
                    <a:pt x="3926648" y="4383583"/>
                    <a:pt x="3452005" y="4385819"/>
                  </a:cubicBezTo>
                  <a:cubicBezTo>
                    <a:pt x="2781605" y="4427727"/>
                    <a:pt x="2904668" y="8011656"/>
                    <a:pt x="1875341" y="7209712"/>
                  </a:cubicBezTo>
                  <a:cubicBezTo>
                    <a:pt x="1222198" y="6372501"/>
                    <a:pt x="1613771" y="4289658"/>
                    <a:pt x="62599" y="3711077"/>
                  </a:cubicBezTo>
                  <a:cubicBezTo>
                    <a:pt x="-16701" y="3678292"/>
                    <a:pt x="-20659" y="3574597"/>
                    <a:pt x="50723" y="3532948"/>
                  </a:cubicBezTo>
                  <a:close/>
                </a:path>
              </a:pathLst>
            </a:custGeom>
            <a:solidFill>
              <a:schemeClr val="tx2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tIns="216000" rIns="90000" bIns="216000" rtlCol="0" anchor="ctr" anchorCtr="0"/>
            <a:lstStyle/>
            <a:p>
              <a:pPr algn="ctr">
                <a:lnSpc>
                  <a:spcPct val="90000"/>
                </a:lnSpc>
              </a:pPr>
              <a:endParaRPr lang="ru-RU" sz="3200" dirty="0">
                <a:ln w="0"/>
                <a:solidFill>
                  <a:schemeClr val="tx2"/>
                </a:solidFill>
              </a:endParaRPr>
            </a:p>
          </p:txBody>
        </p:sp>
        <p:sp>
          <p:nvSpPr>
            <p:cNvPr id="14" name="Прямоугольник 23">
              <a:extLst>
                <a:ext uri="{FF2B5EF4-FFF2-40B4-BE49-F238E27FC236}">
                  <a16:creationId xmlns:a16="http://schemas.microsoft.com/office/drawing/2014/main" id="{DD2CDFC4-AB34-889E-EF66-BEF139447A00}"/>
                </a:ext>
              </a:extLst>
            </p:cNvPr>
            <p:cNvSpPr/>
            <p:nvPr/>
          </p:nvSpPr>
          <p:spPr>
            <a:xfrm>
              <a:off x="7503537" y="26758063"/>
              <a:ext cx="8376544" cy="3240354"/>
            </a:xfrm>
            <a:custGeom>
              <a:avLst/>
              <a:gdLst>
                <a:gd name="connsiteX0" fmla="*/ 0 w 8241475"/>
                <a:gd name="connsiteY0" fmla="*/ 0 h 1175657"/>
                <a:gd name="connsiteX1" fmla="*/ 8241475 w 8241475"/>
                <a:gd name="connsiteY1" fmla="*/ 0 h 1175657"/>
                <a:gd name="connsiteX2" fmla="*/ 8241475 w 8241475"/>
                <a:gd name="connsiteY2" fmla="*/ 1175657 h 1175657"/>
                <a:gd name="connsiteX3" fmla="*/ 0 w 8241475"/>
                <a:gd name="connsiteY3" fmla="*/ 1175657 h 1175657"/>
                <a:gd name="connsiteX4" fmla="*/ 0 w 8241475"/>
                <a:gd name="connsiteY4" fmla="*/ 0 h 1175657"/>
                <a:gd name="connsiteX0" fmla="*/ 0 w 8241475"/>
                <a:gd name="connsiteY0" fmla="*/ 605642 h 1175657"/>
                <a:gd name="connsiteX1" fmla="*/ 8241475 w 8241475"/>
                <a:gd name="connsiteY1" fmla="*/ 0 h 1175657"/>
                <a:gd name="connsiteX2" fmla="*/ 8241475 w 8241475"/>
                <a:gd name="connsiteY2" fmla="*/ 1175657 h 1175657"/>
                <a:gd name="connsiteX3" fmla="*/ 0 w 8241475"/>
                <a:gd name="connsiteY3" fmla="*/ 1175657 h 1175657"/>
                <a:gd name="connsiteX4" fmla="*/ 0 w 8241475"/>
                <a:gd name="connsiteY4" fmla="*/ 605642 h 1175657"/>
                <a:gd name="connsiteX0" fmla="*/ 0 w 8241475"/>
                <a:gd name="connsiteY0" fmla="*/ 605642 h 1175657"/>
                <a:gd name="connsiteX1" fmla="*/ 1852550 w 8241475"/>
                <a:gd name="connsiteY1" fmla="*/ 475013 h 1175657"/>
                <a:gd name="connsiteX2" fmla="*/ 8241475 w 8241475"/>
                <a:gd name="connsiteY2" fmla="*/ 0 h 1175657"/>
                <a:gd name="connsiteX3" fmla="*/ 8241475 w 8241475"/>
                <a:gd name="connsiteY3" fmla="*/ 1175657 h 1175657"/>
                <a:gd name="connsiteX4" fmla="*/ 0 w 8241475"/>
                <a:gd name="connsiteY4" fmla="*/ 1175657 h 1175657"/>
                <a:gd name="connsiteX5" fmla="*/ 0 w 8241475"/>
                <a:gd name="connsiteY5" fmla="*/ 605642 h 1175657"/>
                <a:gd name="connsiteX0" fmla="*/ 0 w 8241475"/>
                <a:gd name="connsiteY0" fmla="*/ 973777 h 1543792"/>
                <a:gd name="connsiteX1" fmla="*/ 1852550 w 8241475"/>
                <a:gd name="connsiteY1" fmla="*/ 0 h 1543792"/>
                <a:gd name="connsiteX2" fmla="*/ 8241475 w 8241475"/>
                <a:gd name="connsiteY2" fmla="*/ 368135 h 1543792"/>
                <a:gd name="connsiteX3" fmla="*/ 8241475 w 8241475"/>
                <a:gd name="connsiteY3" fmla="*/ 1543792 h 1543792"/>
                <a:gd name="connsiteX4" fmla="*/ 0 w 8241475"/>
                <a:gd name="connsiteY4" fmla="*/ 1543792 h 1543792"/>
                <a:gd name="connsiteX5" fmla="*/ 0 w 8241475"/>
                <a:gd name="connsiteY5" fmla="*/ 973777 h 1543792"/>
                <a:gd name="connsiteX0" fmla="*/ 0 w 8241475"/>
                <a:gd name="connsiteY0" fmla="*/ 973777 h 1543792"/>
                <a:gd name="connsiteX1" fmla="*/ 1852550 w 8241475"/>
                <a:gd name="connsiteY1" fmla="*/ 0 h 1543792"/>
                <a:gd name="connsiteX2" fmla="*/ 8241475 w 8241475"/>
                <a:gd name="connsiteY2" fmla="*/ 368135 h 1543792"/>
                <a:gd name="connsiteX3" fmla="*/ 8241475 w 8241475"/>
                <a:gd name="connsiteY3" fmla="*/ 1543792 h 1543792"/>
                <a:gd name="connsiteX4" fmla="*/ 0 w 8241475"/>
                <a:gd name="connsiteY4" fmla="*/ 1543792 h 1543792"/>
                <a:gd name="connsiteX5" fmla="*/ 0 w 8241475"/>
                <a:gd name="connsiteY5" fmla="*/ 973777 h 1543792"/>
                <a:gd name="connsiteX0" fmla="*/ 0 w 8241475"/>
                <a:gd name="connsiteY0" fmla="*/ 973777 h 1543792"/>
                <a:gd name="connsiteX1" fmla="*/ 1710046 w 8241475"/>
                <a:gd name="connsiteY1" fmla="*/ 0 h 1543792"/>
                <a:gd name="connsiteX2" fmla="*/ 8241475 w 8241475"/>
                <a:gd name="connsiteY2" fmla="*/ 368135 h 1543792"/>
                <a:gd name="connsiteX3" fmla="*/ 8241475 w 8241475"/>
                <a:gd name="connsiteY3" fmla="*/ 1543792 h 1543792"/>
                <a:gd name="connsiteX4" fmla="*/ 0 w 8241475"/>
                <a:gd name="connsiteY4" fmla="*/ 1543792 h 1543792"/>
                <a:gd name="connsiteX5" fmla="*/ 0 w 8241475"/>
                <a:gd name="connsiteY5" fmla="*/ 973777 h 1543792"/>
                <a:gd name="connsiteX0" fmla="*/ 0 w 8241475"/>
                <a:gd name="connsiteY0" fmla="*/ 985952 h 1555967"/>
                <a:gd name="connsiteX1" fmla="*/ 1710046 w 8241475"/>
                <a:gd name="connsiteY1" fmla="*/ 12175 h 1555967"/>
                <a:gd name="connsiteX2" fmla="*/ 8241475 w 8241475"/>
                <a:gd name="connsiteY2" fmla="*/ 380310 h 1555967"/>
                <a:gd name="connsiteX3" fmla="*/ 8241475 w 8241475"/>
                <a:gd name="connsiteY3" fmla="*/ 1555967 h 1555967"/>
                <a:gd name="connsiteX4" fmla="*/ 0 w 8241475"/>
                <a:gd name="connsiteY4" fmla="*/ 1555967 h 1555967"/>
                <a:gd name="connsiteX5" fmla="*/ 0 w 8241475"/>
                <a:gd name="connsiteY5" fmla="*/ 985952 h 1555967"/>
                <a:gd name="connsiteX0" fmla="*/ 0 w 8241475"/>
                <a:gd name="connsiteY0" fmla="*/ 1533793 h 2103808"/>
                <a:gd name="connsiteX1" fmla="*/ 1710046 w 8241475"/>
                <a:gd name="connsiteY1" fmla="*/ 560016 h 2103808"/>
                <a:gd name="connsiteX2" fmla="*/ 8241475 w 8241475"/>
                <a:gd name="connsiteY2" fmla="*/ 928151 h 2103808"/>
                <a:gd name="connsiteX3" fmla="*/ 8241475 w 8241475"/>
                <a:gd name="connsiteY3" fmla="*/ 2103808 h 2103808"/>
                <a:gd name="connsiteX4" fmla="*/ 0 w 8241475"/>
                <a:gd name="connsiteY4" fmla="*/ 2103808 h 2103808"/>
                <a:gd name="connsiteX5" fmla="*/ 0 w 8241475"/>
                <a:gd name="connsiteY5" fmla="*/ 1533793 h 2103808"/>
                <a:gd name="connsiteX0" fmla="*/ 0 w 8241475"/>
                <a:gd name="connsiteY0" fmla="*/ 1538766 h 2108781"/>
                <a:gd name="connsiteX1" fmla="*/ 1710046 w 8241475"/>
                <a:gd name="connsiteY1" fmla="*/ 564989 h 2108781"/>
                <a:gd name="connsiteX2" fmla="*/ 2968831 w 8241475"/>
                <a:gd name="connsiteY2" fmla="*/ 6850 h 2108781"/>
                <a:gd name="connsiteX3" fmla="*/ 8241475 w 8241475"/>
                <a:gd name="connsiteY3" fmla="*/ 933124 h 2108781"/>
                <a:gd name="connsiteX4" fmla="*/ 8241475 w 8241475"/>
                <a:gd name="connsiteY4" fmla="*/ 2108781 h 2108781"/>
                <a:gd name="connsiteX5" fmla="*/ 0 w 8241475"/>
                <a:gd name="connsiteY5" fmla="*/ 2108781 h 2108781"/>
                <a:gd name="connsiteX6" fmla="*/ 0 w 8241475"/>
                <a:gd name="connsiteY6" fmla="*/ 1538766 h 2108781"/>
                <a:gd name="connsiteX0" fmla="*/ 0 w 8241475"/>
                <a:gd name="connsiteY0" fmla="*/ 979236 h 1549251"/>
                <a:gd name="connsiteX1" fmla="*/ 1710046 w 8241475"/>
                <a:gd name="connsiteY1" fmla="*/ 5459 h 1549251"/>
                <a:gd name="connsiteX2" fmla="*/ 2695699 w 8241475"/>
                <a:gd name="connsiteY2" fmla="*/ 575476 h 1549251"/>
                <a:gd name="connsiteX3" fmla="*/ 8241475 w 8241475"/>
                <a:gd name="connsiteY3" fmla="*/ 373594 h 1549251"/>
                <a:gd name="connsiteX4" fmla="*/ 8241475 w 8241475"/>
                <a:gd name="connsiteY4" fmla="*/ 1549251 h 1549251"/>
                <a:gd name="connsiteX5" fmla="*/ 0 w 8241475"/>
                <a:gd name="connsiteY5" fmla="*/ 1549251 h 1549251"/>
                <a:gd name="connsiteX6" fmla="*/ 0 w 8241475"/>
                <a:gd name="connsiteY6" fmla="*/ 979236 h 1549251"/>
                <a:gd name="connsiteX0" fmla="*/ 0 w 8241475"/>
                <a:gd name="connsiteY0" fmla="*/ 979039 h 1549054"/>
                <a:gd name="connsiteX1" fmla="*/ 1710046 w 8241475"/>
                <a:gd name="connsiteY1" fmla="*/ 5262 h 1549054"/>
                <a:gd name="connsiteX2" fmla="*/ 2695699 w 8241475"/>
                <a:gd name="connsiteY2" fmla="*/ 575279 h 1549054"/>
                <a:gd name="connsiteX3" fmla="*/ 8241475 w 8241475"/>
                <a:gd name="connsiteY3" fmla="*/ 373397 h 1549054"/>
                <a:gd name="connsiteX4" fmla="*/ 8241475 w 8241475"/>
                <a:gd name="connsiteY4" fmla="*/ 1549054 h 1549054"/>
                <a:gd name="connsiteX5" fmla="*/ 0 w 8241475"/>
                <a:gd name="connsiteY5" fmla="*/ 1549054 h 1549054"/>
                <a:gd name="connsiteX6" fmla="*/ 0 w 8241475"/>
                <a:gd name="connsiteY6" fmla="*/ 979039 h 1549054"/>
                <a:gd name="connsiteX0" fmla="*/ 0 w 8241475"/>
                <a:gd name="connsiteY0" fmla="*/ 979039 h 1549054"/>
                <a:gd name="connsiteX1" fmla="*/ 1710046 w 8241475"/>
                <a:gd name="connsiteY1" fmla="*/ 5262 h 1549054"/>
                <a:gd name="connsiteX2" fmla="*/ 2695699 w 8241475"/>
                <a:gd name="connsiteY2" fmla="*/ 575279 h 1549054"/>
                <a:gd name="connsiteX3" fmla="*/ 8241475 w 8241475"/>
                <a:gd name="connsiteY3" fmla="*/ 373397 h 1549054"/>
                <a:gd name="connsiteX4" fmla="*/ 8241475 w 8241475"/>
                <a:gd name="connsiteY4" fmla="*/ 1549054 h 1549054"/>
                <a:gd name="connsiteX5" fmla="*/ 0 w 8241475"/>
                <a:gd name="connsiteY5" fmla="*/ 1549054 h 1549054"/>
                <a:gd name="connsiteX6" fmla="*/ 0 w 8241475"/>
                <a:gd name="connsiteY6" fmla="*/ 979039 h 1549054"/>
                <a:gd name="connsiteX0" fmla="*/ 0 w 8241475"/>
                <a:gd name="connsiteY0" fmla="*/ 979039 h 1549054"/>
                <a:gd name="connsiteX1" fmla="*/ 1710046 w 8241475"/>
                <a:gd name="connsiteY1" fmla="*/ 5262 h 1549054"/>
                <a:gd name="connsiteX2" fmla="*/ 2695699 w 8241475"/>
                <a:gd name="connsiteY2" fmla="*/ 575279 h 1549054"/>
                <a:gd name="connsiteX3" fmla="*/ 8241475 w 8241475"/>
                <a:gd name="connsiteY3" fmla="*/ 373397 h 1549054"/>
                <a:gd name="connsiteX4" fmla="*/ 8241475 w 8241475"/>
                <a:gd name="connsiteY4" fmla="*/ 1549054 h 1549054"/>
                <a:gd name="connsiteX5" fmla="*/ 0 w 8241475"/>
                <a:gd name="connsiteY5" fmla="*/ 1549054 h 1549054"/>
                <a:gd name="connsiteX6" fmla="*/ 0 w 8241475"/>
                <a:gd name="connsiteY6" fmla="*/ 979039 h 1549054"/>
                <a:gd name="connsiteX0" fmla="*/ 0 w 8241475"/>
                <a:gd name="connsiteY0" fmla="*/ 1021567 h 1591582"/>
                <a:gd name="connsiteX1" fmla="*/ 1710046 w 8241475"/>
                <a:gd name="connsiteY1" fmla="*/ 47790 h 1591582"/>
                <a:gd name="connsiteX2" fmla="*/ 2695699 w 8241475"/>
                <a:gd name="connsiteY2" fmla="*/ 617807 h 1591582"/>
                <a:gd name="connsiteX3" fmla="*/ 8241475 w 8241475"/>
                <a:gd name="connsiteY3" fmla="*/ 415925 h 1591582"/>
                <a:gd name="connsiteX4" fmla="*/ 8241475 w 8241475"/>
                <a:gd name="connsiteY4" fmla="*/ 1591582 h 1591582"/>
                <a:gd name="connsiteX5" fmla="*/ 0 w 8241475"/>
                <a:gd name="connsiteY5" fmla="*/ 1591582 h 1591582"/>
                <a:gd name="connsiteX6" fmla="*/ 0 w 8241475"/>
                <a:gd name="connsiteY6" fmla="*/ 1021567 h 1591582"/>
                <a:gd name="connsiteX0" fmla="*/ 0 w 8241475"/>
                <a:gd name="connsiteY0" fmla="*/ 1021567 h 1591582"/>
                <a:gd name="connsiteX1" fmla="*/ 1710046 w 8241475"/>
                <a:gd name="connsiteY1" fmla="*/ 47790 h 1591582"/>
                <a:gd name="connsiteX2" fmla="*/ 2695699 w 8241475"/>
                <a:gd name="connsiteY2" fmla="*/ 617807 h 1591582"/>
                <a:gd name="connsiteX3" fmla="*/ 8241475 w 8241475"/>
                <a:gd name="connsiteY3" fmla="*/ 415925 h 1591582"/>
                <a:gd name="connsiteX4" fmla="*/ 8241475 w 8241475"/>
                <a:gd name="connsiteY4" fmla="*/ 1591582 h 1591582"/>
                <a:gd name="connsiteX5" fmla="*/ 0 w 8241475"/>
                <a:gd name="connsiteY5" fmla="*/ 1591582 h 1591582"/>
                <a:gd name="connsiteX6" fmla="*/ 0 w 8241475"/>
                <a:gd name="connsiteY6" fmla="*/ 1021567 h 1591582"/>
                <a:gd name="connsiteX0" fmla="*/ 0 w 8241475"/>
                <a:gd name="connsiteY0" fmla="*/ 1021567 h 1591582"/>
                <a:gd name="connsiteX1" fmla="*/ 1710046 w 8241475"/>
                <a:gd name="connsiteY1" fmla="*/ 47790 h 1591582"/>
                <a:gd name="connsiteX2" fmla="*/ 2695699 w 8241475"/>
                <a:gd name="connsiteY2" fmla="*/ 617807 h 1591582"/>
                <a:gd name="connsiteX3" fmla="*/ 8241475 w 8241475"/>
                <a:gd name="connsiteY3" fmla="*/ 415925 h 1591582"/>
                <a:gd name="connsiteX4" fmla="*/ 8241475 w 8241475"/>
                <a:gd name="connsiteY4" fmla="*/ 1591582 h 1591582"/>
                <a:gd name="connsiteX5" fmla="*/ 0 w 8241475"/>
                <a:gd name="connsiteY5" fmla="*/ 1591582 h 1591582"/>
                <a:gd name="connsiteX6" fmla="*/ 0 w 8241475"/>
                <a:gd name="connsiteY6" fmla="*/ 1021567 h 1591582"/>
                <a:gd name="connsiteX0" fmla="*/ 0 w 8241475"/>
                <a:gd name="connsiteY0" fmla="*/ 1137835 h 1707850"/>
                <a:gd name="connsiteX1" fmla="*/ 1710046 w 8241475"/>
                <a:gd name="connsiteY1" fmla="*/ 164058 h 1707850"/>
                <a:gd name="connsiteX2" fmla="*/ 2695699 w 8241475"/>
                <a:gd name="connsiteY2" fmla="*/ 734075 h 1707850"/>
                <a:gd name="connsiteX3" fmla="*/ 8241475 w 8241475"/>
                <a:gd name="connsiteY3" fmla="*/ 532193 h 1707850"/>
                <a:gd name="connsiteX4" fmla="*/ 8241475 w 8241475"/>
                <a:gd name="connsiteY4" fmla="*/ 1707850 h 1707850"/>
                <a:gd name="connsiteX5" fmla="*/ 0 w 8241475"/>
                <a:gd name="connsiteY5" fmla="*/ 1707850 h 1707850"/>
                <a:gd name="connsiteX6" fmla="*/ 0 w 8241475"/>
                <a:gd name="connsiteY6" fmla="*/ 1137835 h 1707850"/>
                <a:gd name="connsiteX0" fmla="*/ 0 w 8241475"/>
                <a:gd name="connsiteY0" fmla="*/ 1023384 h 1593399"/>
                <a:gd name="connsiteX1" fmla="*/ 1710046 w 8241475"/>
                <a:gd name="connsiteY1" fmla="*/ 49607 h 1593399"/>
                <a:gd name="connsiteX2" fmla="*/ 2695699 w 8241475"/>
                <a:gd name="connsiteY2" fmla="*/ 619624 h 1593399"/>
                <a:gd name="connsiteX3" fmla="*/ 8241475 w 8241475"/>
                <a:gd name="connsiteY3" fmla="*/ 417742 h 1593399"/>
                <a:gd name="connsiteX4" fmla="*/ 8241475 w 8241475"/>
                <a:gd name="connsiteY4" fmla="*/ 1593399 h 1593399"/>
                <a:gd name="connsiteX5" fmla="*/ 0 w 8241475"/>
                <a:gd name="connsiteY5" fmla="*/ 1593399 h 1593399"/>
                <a:gd name="connsiteX6" fmla="*/ 0 w 8241475"/>
                <a:gd name="connsiteY6" fmla="*/ 1023384 h 1593399"/>
                <a:gd name="connsiteX0" fmla="*/ 0 w 8241475"/>
                <a:gd name="connsiteY0" fmla="*/ 1092924 h 1662939"/>
                <a:gd name="connsiteX1" fmla="*/ 1710046 w 8241475"/>
                <a:gd name="connsiteY1" fmla="*/ 119147 h 1662939"/>
                <a:gd name="connsiteX2" fmla="*/ 2695699 w 8241475"/>
                <a:gd name="connsiteY2" fmla="*/ 689164 h 1662939"/>
                <a:gd name="connsiteX3" fmla="*/ 8241475 w 8241475"/>
                <a:gd name="connsiteY3" fmla="*/ 487282 h 1662939"/>
                <a:gd name="connsiteX4" fmla="*/ 8241475 w 8241475"/>
                <a:gd name="connsiteY4" fmla="*/ 1662939 h 1662939"/>
                <a:gd name="connsiteX5" fmla="*/ 0 w 8241475"/>
                <a:gd name="connsiteY5" fmla="*/ 1662939 h 1662939"/>
                <a:gd name="connsiteX6" fmla="*/ 0 w 8241475"/>
                <a:gd name="connsiteY6" fmla="*/ 1092924 h 1662939"/>
                <a:gd name="connsiteX0" fmla="*/ 0 w 8241475"/>
                <a:gd name="connsiteY0" fmla="*/ 881855 h 1451870"/>
                <a:gd name="connsiteX1" fmla="*/ 1520041 w 8241475"/>
                <a:gd name="connsiteY1" fmla="*/ 145585 h 1451870"/>
                <a:gd name="connsiteX2" fmla="*/ 2695699 w 8241475"/>
                <a:gd name="connsiteY2" fmla="*/ 478095 h 1451870"/>
                <a:gd name="connsiteX3" fmla="*/ 8241475 w 8241475"/>
                <a:gd name="connsiteY3" fmla="*/ 276213 h 1451870"/>
                <a:gd name="connsiteX4" fmla="*/ 8241475 w 8241475"/>
                <a:gd name="connsiteY4" fmla="*/ 1451870 h 1451870"/>
                <a:gd name="connsiteX5" fmla="*/ 0 w 8241475"/>
                <a:gd name="connsiteY5" fmla="*/ 1451870 h 1451870"/>
                <a:gd name="connsiteX6" fmla="*/ 0 w 8241475"/>
                <a:gd name="connsiteY6" fmla="*/ 881855 h 1451870"/>
                <a:gd name="connsiteX0" fmla="*/ 0 w 8241475"/>
                <a:gd name="connsiteY0" fmla="*/ 971357 h 1541372"/>
                <a:gd name="connsiteX1" fmla="*/ 1520041 w 8241475"/>
                <a:gd name="connsiteY1" fmla="*/ 235087 h 1541372"/>
                <a:gd name="connsiteX2" fmla="*/ 2695699 w 8241475"/>
                <a:gd name="connsiteY2" fmla="*/ 567597 h 1541372"/>
                <a:gd name="connsiteX3" fmla="*/ 8241475 w 8241475"/>
                <a:gd name="connsiteY3" fmla="*/ 365715 h 1541372"/>
                <a:gd name="connsiteX4" fmla="*/ 8241475 w 8241475"/>
                <a:gd name="connsiteY4" fmla="*/ 1541372 h 1541372"/>
                <a:gd name="connsiteX5" fmla="*/ 0 w 8241475"/>
                <a:gd name="connsiteY5" fmla="*/ 1541372 h 1541372"/>
                <a:gd name="connsiteX6" fmla="*/ 0 w 8241475"/>
                <a:gd name="connsiteY6" fmla="*/ 971357 h 1541372"/>
                <a:gd name="connsiteX0" fmla="*/ 0 w 8241475"/>
                <a:gd name="connsiteY0" fmla="*/ 971357 h 1541372"/>
                <a:gd name="connsiteX1" fmla="*/ 1520041 w 8241475"/>
                <a:gd name="connsiteY1" fmla="*/ 235087 h 1541372"/>
                <a:gd name="connsiteX2" fmla="*/ 2695699 w 8241475"/>
                <a:gd name="connsiteY2" fmla="*/ 567597 h 1541372"/>
                <a:gd name="connsiteX3" fmla="*/ 3954483 w 8241475"/>
                <a:gd name="connsiteY3" fmla="*/ 520095 h 1541372"/>
                <a:gd name="connsiteX4" fmla="*/ 8241475 w 8241475"/>
                <a:gd name="connsiteY4" fmla="*/ 365715 h 1541372"/>
                <a:gd name="connsiteX5" fmla="*/ 8241475 w 8241475"/>
                <a:gd name="connsiteY5" fmla="*/ 1541372 h 1541372"/>
                <a:gd name="connsiteX6" fmla="*/ 0 w 8241475"/>
                <a:gd name="connsiteY6" fmla="*/ 1541372 h 1541372"/>
                <a:gd name="connsiteX7" fmla="*/ 0 w 8241475"/>
                <a:gd name="connsiteY7" fmla="*/ 971357 h 1541372"/>
                <a:gd name="connsiteX0" fmla="*/ 0 w 8241475"/>
                <a:gd name="connsiteY0" fmla="*/ 1485523 h 2055538"/>
                <a:gd name="connsiteX1" fmla="*/ 1520041 w 8241475"/>
                <a:gd name="connsiteY1" fmla="*/ 749253 h 2055538"/>
                <a:gd name="connsiteX2" fmla="*/ 2695699 w 8241475"/>
                <a:gd name="connsiteY2" fmla="*/ 1081763 h 2055538"/>
                <a:gd name="connsiteX3" fmla="*/ 3966358 w 8241475"/>
                <a:gd name="connsiteY3" fmla="*/ 1108 h 2055538"/>
                <a:gd name="connsiteX4" fmla="*/ 8241475 w 8241475"/>
                <a:gd name="connsiteY4" fmla="*/ 879881 h 2055538"/>
                <a:gd name="connsiteX5" fmla="*/ 8241475 w 8241475"/>
                <a:gd name="connsiteY5" fmla="*/ 2055538 h 2055538"/>
                <a:gd name="connsiteX6" fmla="*/ 0 w 8241475"/>
                <a:gd name="connsiteY6" fmla="*/ 2055538 h 2055538"/>
                <a:gd name="connsiteX7" fmla="*/ 0 w 8241475"/>
                <a:gd name="connsiteY7" fmla="*/ 1485523 h 2055538"/>
                <a:gd name="connsiteX0" fmla="*/ 0 w 8241475"/>
                <a:gd name="connsiteY0" fmla="*/ 1485523 h 2055538"/>
                <a:gd name="connsiteX1" fmla="*/ 1520041 w 8241475"/>
                <a:gd name="connsiteY1" fmla="*/ 749253 h 2055538"/>
                <a:gd name="connsiteX2" fmla="*/ 2695699 w 8241475"/>
                <a:gd name="connsiteY2" fmla="*/ 1081763 h 2055538"/>
                <a:gd name="connsiteX3" fmla="*/ 3966358 w 8241475"/>
                <a:gd name="connsiteY3" fmla="*/ 1108 h 2055538"/>
                <a:gd name="connsiteX4" fmla="*/ 8241475 w 8241475"/>
                <a:gd name="connsiteY4" fmla="*/ 879881 h 2055538"/>
                <a:gd name="connsiteX5" fmla="*/ 8241475 w 8241475"/>
                <a:gd name="connsiteY5" fmla="*/ 2055538 h 2055538"/>
                <a:gd name="connsiteX6" fmla="*/ 0 w 8241475"/>
                <a:gd name="connsiteY6" fmla="*/ 2055538 h 2055538"/>
                <a:gd name="connsiteX7" fmla="*/ 0 w 8241475"/>
                <a:gd name="connsiteY7" fmla="*/ 1485523 h 2055538"/>
                <a:gd name="connsiteX0" fmla="*/ 0 w 8241475"/>
                <a:gd name="connsiteY0" fmla="*/ 1523749 h 2093764"/>
                <a:gd name="connsiteX1" fmla="*/ 1520041 w 8241475"/>
                <a:gd name="connsiteY1" fmla="*/ 787479 h 2093764"/>
                <a:gd name="connsiteX2" fmla="*/ 2695699 w 8241475"/>
                <a:gd name="connsiteY2" fmla="*/ 1119989 h 2093764"/>
                <a:gd name="connsiteX3" fmla="*/ 3966358 w 8241475"/>
                <a:gd name="connsiteY3" fmla="*/ 39334 h 2093764"/>
                <a:gd name="connsiteX4" fmla="*/ 5688280 w 8241475"/>
                <a:gd name="connsiteY4" fmla="*/ 300591 h 2093764"/>
                <a:gd name="connsiteX5" fmla="*/ 8241475 w 8241475"/>
                <a:gd name="connsiteY5" fmla="*/ 918107 h 2093764"/>
                <a:gd name="connsiteX6" fmla="*/ 8241475 w 8241475"/>
                <a:gd name="connsiteY6" fmla="*/ 2093764 h 2093764"/>
                <a:gd name="connsiteX7" fmla="*/ 0 w 8241475"/>
                <a:gd name="connsiteY7" fmla="*/ 2093764 h 2093764"/>
                <a:gd name="connsiteX8" fmla="*/ 0 w 8241475"/>
                <a:gd name="connsiteY8" fmla="*/ 1523749 h 2093764"/>
                <a:gd name="connsiteX0" fmla="*/ 0 w 8241475"/>
                <a:gd name="connsiteY0" fmla="*/ 1498244 h 2068259"/>
                <a:gd name="connsiteX1" fmla="*/ 1520041 w 8241475"/>
                <a:gd name="connsiteY1" fmla="*/ 761974 h 2068259"/>
                <a:gd name="connsiteX2" fmla="*/ 2695699 w 8241475"/>
                <a:gd name="connsiteY2" fmla="*/ 1094484 h 2068259"/>
                <a:gd name="connsiteX3" fmla="*/ 3966358 w 8241475"/>
                <a:gd name="connsiteY3" fmla="*/ 13829 h 2068259"/>
                <a:gd name="connsiteX4" fmla="*/ 5569527 w 8241475"/>
                <a:gd name="connsiteY4" fmla="*/ 940104 h 2068259"/>
                <a:gd name="connsiteX5" fmla="*/ 8241475 w 8241475"/>
                <a:gd name="connsiteY5" fmla="*/ 892602 h 2068259"/>
                <a:gd name="connsiteX6" fmla="*/ 8241475 w 8241475"/>
                <a:gd name="connsiteY6" fmla="*/ 2068259 h 2068259"/>
                <a:gd name="connsiteX7" fmla="*/ 0 w 8241475"/>
                <a:gd name="connsiteY7" fmla="*/ 2068259 h 2068259"/>
                <a:gd name="connsiteX8" fmla="*/ 0 w 8241475"/>
                <a:gd name="connsiteY8" fmla="*/ 1498244 h 2068259"/>
                <a:gd name="connsiteX0" fmla="*/ 0 w 8241475"/>
                <a:gd name="connsiteY0" fmla="*/ 1498244 h 2068259"/>
                <a:gd name="connsiteX1" fmla="*/ 1520041 w 8241475"/>
                <a:gd name="connsiteY1" fmla="*/ 761974 h 2068259"/>
                <a:gd name="connsiteX2" fmla="*/ 2695699 w 8241475"/>
                <a:gd name="connsiteY2" fmla="*/ 1094484 h 2068259"/>
                <a:gd name="connsiteX3" fmla="*/ 3966358 w 8241475"/>
                <a:gd name="connsiteY3" fmla="*/ 13829 h 2068259"/>
                <a:gd name="connsiteX4" fmla="*/ 5569527 w 8241475"/>
                <a:gd name="connsiteY4" fmla="*/ 940104 h 2068259"/>
                <a:gd name="connsiteX5" fmla="*/ 6757059 w 8241475"/>
                <a:gd name="connsiteY5" fmla="*/ 904478 h 2068259"/>
                <a:gd name="connsiteX6" fmla="*/ 8241475 w 8241475"/>
                <a:gd name="connsiteY6" fmla="*/ 892602 h 2068259"/>
                <a:gd name="connsiteX7" fmla="*/ 8241475 w 8241475"/>
                <a:gd name="connsiteY7" fmla="*/ 2068259 h 2068259"/>
                <a:gd name="connsiteX8" fmla="*/ 0 w 8241475"/>
                <a:gd name="connsiteY8" fmla="*/ 2068259 h 2068259"/>
                <a:gd name="connsiteX9" fmla="*/ 0 w 8241475"/>
                <a:gd name="connsiteY9" fmla="*/ 1498244 h 2068259"/>
                <a:gd name="connsiteX0" fmla="*/ 0 w 8241475"/>
                <a:gd name="connsiteY0" fmla="*/ 1498244 h 2068259"/>
                <a:gd name="connsiteX1" fmla="*/ 1520041 w 8241475"/>
                <a:gd name="connsiteY1" fmla="*/ 761974 h 2068259"/>
                <a:gd name="connsiteX2" fmla="*/ 2695699 w 8241475"/>
                <a:gd name="connsiteY2" fmla="*/ 1094484 h 2068259"/>
                <a:gd name="connsiteX3" fmla="*/ 3966358 w 8241475"/>
                <a:gd name="connsiteY3" fmla="*/ 13829 h 2068259"/>
                <a:gd name="connsiteX4" fmla="*/ 5569527 w 8241475"/>
                <a:gd name="connsiteY4" fmla="*/ 940104 h 2068259"/>
                <a:gd name="connsiteX5" fmla="*/ 6852062 w 8241475"/>
                <a:gd name="connsiteY5" fmla="*/ 263211 h 2068259"/>
                <a:gd name="connsiteX6" fmla="*/ 8241475 w 8241475"/>
                <a:gd name="connsiteY6" fmla="*/ 892602 h 2068259"/>
                <a:gd name="connsiteX7" fmla="*/ 8241475 w 8241475"/>
                <a:gd name="connsiteY7" fmla="*/ 2068259 h 2068259"/>
                <a:gd name="connsiteX8" fmla="*/ 0 w 8241475"/>
                <a:gd name="connsiteY8" fmla="*/ 2068259 h 2068259"/>
                <a:gd name="connsiteX9" fmla="*/ 0 w 8241475"/>
                <a:gd name="connsiteY9" fmla="*/ 1498244 h 2068259"/>
                <a:gd name="connsiteX0" fmla="*/ 0 w 8241475"/>
                <a:gd name="connsiteY0" fmla="*/ 1498244 h 2068259"/>
                <a:gd name="connsiteX1" fmla="*/ 1520041 w 8241475"/>
                <a:gd name="connsiteY1" fmla="*/ 761974 h 2068259"/>
                <a:gd name="connsiteX2" fmla="*/ 2695699 w 8241475"/>
                <a:gd name="connsiteY2" fmla="*/ 1094484 h 2068259"/>
                <a:gd name="connsiteX3" fmla="*/ 3966358 w 8241475"/>
                <a:gd name="connsiteY3" fmla="*/ 13829 h 2068259"/>
                <a:gd name="connsiteX4" fmla="*/ 5569527 w 8241475"/>
                <a:gd name="connsiteY4" fmla="*/ 940104 h 2068259"/>
                <a:gd name="connsiteX5" fmla="*/ 6852062 w 8241475"/>
                <a:gd name="connsiteY5" fmla="*/ 263211 h 2068259"/>
                <a:gd name="connsiteX6" fmla="*/ 8241475 w 8241475"/>
                <a:gd name="connsiteY6" fmla="*/ 1415117 h 2068259"/>
                <a:gd name="connsiteX7" fmla="*/ 8241475 w 8241475"/>
                <a:gd name="connsiteY7" fmla="*/ 2068259 h 2068259"/>
                <a:gd name="connsiteX8" fmla="*/ 0 w 8241475"/>
                <a:gd name="connsiteY8" fmla="*/ 2068259 h 2068259"/>
                <a:gd name="connsiteX9" fmla="*/ 0 w 8241475"/>
                <a:gd name="connsiteY9" fmla="*/ 1498244 h 2068259"/>
                <a:gd name="connsiteX0" fmla="*/ 0 w 8241475"/>
                <a:gd name="connsiteY0" fmla="*/ 1498244 h 2068259"/>
                <a:gd name="connsiteX1" fmla="*/ 1520041 w 8241475"/>
                <a:gd name="connsiteY1" fmla="*/ 761974 h 2068259"/>
                <a:gd name="connsiteX2" fmla="*/ 2695699 w 8241475"/>
                <a:gd name="connsiteY2" fmla="*/ 1094484 h 2068259"/>
                <a:gd name="connsiteX3" fmla="*/ 3966358 w 8241475"/>
                <a:gd name="connsiteY3" fmla="*/ 13829 h 2068259"/>
                <a:gd name="connsiteX4" fmla="*/ 5569527 w 8241475"/>
                <a:gd name="connsiteY4" fmla="*/ 940104 h 2068259"/>
                <a:gd name="connsiteX5" fmla="*/ 6852062 w 8241475"/>
                <a:gd name="connsiteY5" fmla="*/ 263211 h 2068259"/>
                <a:gd name="connsiteX6" fmla="*/ 8241475 w 8241475"/>
                <a:gd name="connsiteY6" fmla="*/ 1415117 h 2068259"/>
                <a:gd name="connsiteX7" fmla="*/ 8241475 w 8241475"/>
                <a:gd name="connsiteY7" fmla="*/ 2068259 h 2068259"/>
                <a:gd name="connsiteX8" fmla="*/ 0 w 8241475"/>
                <a:gd name="connsiteY8" fmla="*/ 2068259 h 2068259"/>
                <a:gd name="connsiteX9" fmla="*/ 0 w 8241475"/>
                <a:gd name="connsiteY9" fmla="*/ 1498244 h 2068259"/>
                <a:gd name="connsiteX0" fmla="*/ 0 w 8241475"/>
                <a:gd name="connsiteY0" fmla="*/ 1498244 h 2068259"/>
                <a:gd name="connsiteX1" fmla="*/ 1520041 w 8241475"/>
                <a:gd name="connsiteY1" fmla="*/ 761974 h 2068259"/>
                <a:gd name="connsiteX2" fmla="*/ 2695699 w 8241475"/>
                <a:gd name="connsiteY2" fmla="*/ 1094484 h 2068259"/>
                <a:gd name="connsiteX3" fmla="*/ 3966358 w 8241475"/>
                <a:gd name="connsiteY3" fmla="*/ 13829 h 2068259"/>
                <a:gd name="connsiteX4" fmla="*/ 5569527 w 8241475"/>
                <a:gd name="connsiteY4" fmla="*/ 940104 h 2068259"/>
                <a:gd name="connsiteX5" fmla="*/ 6852062 w 8241475"/>
                <a:gd name="connsiteY5" fmla="*/ 263211 h 2068259"/>
                <a:gd name="connsiteX6" fmla="*/ 8241475 w 8241475"/>
                <a:gd name="connsiteY6" fmla="*/ 1415117 h 2068259"/>
                <a:gd name="connsiteX7" fmla="*/ 8241475 w 8241475"/>
                <a:gd name="connsiteY7" fmla="*/ 2068259 h 2068259"/>
                <a:gd name="connsiteX8" fmla="*/ 0 w 8241475"/>
                <a:gd name="connsiteY8" fmla="*/ 2068259 h 2068259"/>
                <a:gd name="connsiteX9" fmla="*/ 0 w 8241475"/>
                <a:gd name="connsiteY9" fmla="*/ 1498244 h 2068259"/>
                <a:gd name="connsiteX0" fmla="*/ 0 w 8241475"/>
                <a:gd name="connsiteY0" fmla="*/ 1498244 h 2068259"/>
                <a:gd name="connsiteX1" fmla="*/ 1520041 w 8241475"/>
                <a:gd name="connsiteY1" fmla="*/ 761974 h 2068259"/>
                <a:gd name="connsiteX2" fmla="*/ 2695699 w 8241475"/>
                <a:gd name="connsiteY2" fmla="*/ 1094484 h 2068259"/>
                <a:gd name="connsiteX3" fmla="*/ 3966358 w 8241475"/>
                <a:gd name="connsiteY3" fmla="*/ 13829 h 2068259"/>
                <a:gd name="connsiteX4" fmla="*/ 5569527 w 8241475"/>
                <a:gd name="connsiteY4" fmla="*/ 940104 h 2068259"/>
                <a:gd name="connsiteX5" fmla="*/ 6852062 w 8241475"/>
                <a:gd name="connsiteY5" fmla="*/ 263211 h 2068259"/>
                <a:gd name="connsiteX6" fmla="*/ 8241475 w 8241475"/>
                <a:gd name="connsiteY6" fmla="*/ 1415117 h 2068259"/>
                <a:gd name="connsiteX7" fmla="*/ 8241475 w 8241475"/>
                <a:gd name="connsiteY7" fmla="*/ 2068259 h 2068259"/>
                <a:gd name="connsiteX8" fmla="*/ 0 w 8241475"/>
                <a:gd name="connsiteY8" fmla="*/ 2068259 h 2068259"/>
                <a:gd name="connsiteX9" fmla="*/ 0 w 8241475"/>
                <a:gd name="connsiteY9" fmla="*/ 1498244 h 2068259"/>
                <a:gd name="connsiteX0" fmla="*/ 0 w 8241475"/>
                <a:gd name="connsiteY0" fmla="*/ 1498244 h 2068260"/>
                <a:gd name="connsiteX1" fmla="*/ 1520041 w 8241475"/>
                <a:gd name="connsiteY1" fmla="*/ 761974 h 2068260"/>
                <a:gd name="connsiteX2" fmla="*/ 2695699 w 8241475"/>
                <a:gd name="connsiteY2" fmla="*/ 1094484 h 2068260"/>
                <a:gd name="connsiteX3" fmla="*/ 3966358 w 8241475"/>
                <a:gd name="connsiteY3" fmla="*/ 13829 h 2068260"/>
                <a:gd name="connsiteX4" fmla="*/ 5569527 w 8241475"/>
                <a:gd name="connsiteY4" fmla="*/ 940104 h 2068260"/>
                <a:gd name="connsiteX5" fmla="*/ 6852062 w 8241475"/>
                <a:gd name="connsiteY5" fmla="*/ 263211 h 2068260"/>
                <a:gd name="connsiteX6" fmla="*/ 8241475 w 8241475"/>
                <a:gd name="connsiteY6" fmla="*/ 1415117 h 2068260"/>
                <a:gd name="connsiteX7" fmla="*/ 8241475 w 8241475"/>
                <a:gd name="connsiteY7" fmla="*/ 2068259 h 2068260"/>
                <a:gd name="connsiteX8" fmla="*/ 1793174 w 8241475"/>
                <a:gd name="connsiteY8" fmla="*/ 2068260 h 2068260"/>
                <a:gd name="connsiteX9" fmla="*/ 0 w 8241475"/>
                <a:gd name="connsiteY9" fmla="*/ 2068259 h 2068260"/>
                <a:gd name="connsiteX10" fmla="*/ 0 w 8241475"/>
                <a:gd name="connsiteY10" fmla="*/ 1498244 h 2068260"/>
                <a:gd name="connsiteX0" fmla="*/ 0 w 8241475"/>
                <a:gd name="connsiteY0" fmla="*/ 1498244 h 2709528"/>
                <a:gd name="connsiteX1" fmla="*/ 1520041 w 8241475"/>
                <a:gd name="connsiteY1" fmla="*/ 761974 h 2709528"/>
                <a:gd name="connsiteX2" fmla="*/ 2695699 w 8241475"/>
                <a:gd name="connsiteY2" fmla="*/ 1094484 h 2709528"/>
                <a:gd name="connsiteX3" fmla="*/ 3966358 w 8241475"/>
                <a:gd name="connsiteY3" fmla="*/ 13829 h 2709528"/>
                <a:gd name="connsiteX4" fmla="*/ 5569527 w 8241475"/>
                <a:gd name="connsiteY4" fmla="*/ 940104 h 2709528"/>
                <a:gd name="connsiteX5" fmla="*/ 6852062 w 8241475"/>
                <a:gd name="connsiteY5" fmla="*/ 263211 h 2709528"/>
                <a:gd name="connsiteX6" fmla="*/ 8241475 w 8241475"/>
                <a:gd name="connsiteY6" fmla="*/ 1415117 h 2709528"/>
                <a:gd name="connsiteX7" fmla="*/ 8241475 w 8241475"/>
                <a:gd name="connsiteY7" fmla="*/ 2068259 h 2709528"/>
                <a:gd name="connsiteX8" fmla="*/ 1888177 w 8241475"/>
                <a:gd name="connsiteY8" fmla="*/ 2709528 h 2709528"/>
                <a:gd name="connsiteX9" fmla="*/ 0 w 8241475"/>
                <a:gd name="connsiteY9" fmla="*/ 2068259 h 2709528"/>
                <a:gd name="connsiteX10" fmla="*/ 0 w 8241475"/>
                <a:gd name="connsiteY10" fmla="*/ 1498244 h 2709528"/>
                <a:gd name="connsiteX0" fmla="*/ 0 w 8241475"/>
                <a:gd name="connsiteY0" fmla="*/ 1498244 h 2709528"/>
                <a:gd name="connsiteX1" fmla="*/ 1520041 w 8241475"/>
                <a:gd name="connsiteY1" fmla="*/ 761974 h 2709528"/>
                <a:gd name="connsiteX2" fmla="*/ 2695699 w 8241475"/>
                <a:gd name="connsiteY2" fmla="*/ 1094484 h 2709528"/>
                <a:gd name="connsiteX3" fmla="*/ 3966358 w 8241475"/>
                <a:gd name="connsiteY3" fmla="*/ 13829 h 2709528"/>
                <a:gd name="connsiteX4" fmla="*/ 5569527 w 8241475"/>
                <a:gd name="connsiteY4" fmla="*/ 940104 h 2709528"/>
                <a:gd name="connsiteX5" fmla="*/ 6852062 w 8241475"/>
                <a:gd name="connsiteY5" fmla="*/ 263211 h 2709528"/>
                <a:gd name="connsiteX6" fmla="*/ 8241475 w 8241475"/>
                <a:gd name="connsiteY6" fmla="*/ 1415117 h 2709528"/>
                <a:gd name="connsiteX7" fmla="*/ 8241475 w 8241475"/>
                <a:gd name="connsiteY7" fmla="*/ 2068259 h 2709528"/>
                <a:gd name="connsiteX8" fmla="*/ 1888177 w 8241475"/>
                <a:gd name="connsiteY8" fmla="*/ 2709528 h 2709528"/>
                <a:gd name="connsiteX9" fmla="*/ 0 w 8241475"/>
                <a:gd name="connsiteY9" fmla="*/ 2068259 h 2709528"/>
                <a:gd name="connsiteX10" fmla="*/ 0 w 8241475"/>
                <a:gd name="connsiteY10" fmla="*/ 1498244 h 2709528"/>
                <a:gd name="connsiteX0" fmla="*/ 0 w 8241475"/>
                <a:gd name="connsiteY0" fmla="*/ 1498244 h 2709528"/>
                <a:gd name="connsiteX1" fmla="*/ 1520041 w 8241475"/>
                <a:gd name="connsiteY1" fmla="*/ 761974 h 2709528"/>
                <a:gd name="connsiteX2" fmla="*/ 2695699 w 8241475"/>
                <a:gd name="connsiteY2" fmla="*/ 1094484 h 2709528"/>
                <a:gd name="connsiteX3" fmla="*/ 3966358 w 8241475"/>
                <a:gd name="connsiteY3" fmla="*/ 13829 h 2709528"/>
                <a:gd name="connsiteX4" fmla="*/ 5569527 w 8241475"/>
                <a:gd name="connsiteY4" fmla="*/ 940104 h 2709528"/>
                <a:gd name="connsiteX5" fmla="*/ 6852062 w 8241475"/>
                <a:gd name="connsiteY5" fmla="*/ 263211 h 2709528"/>
                <a:gd name="connsiteX6" fmla="*/ 8241475 w 8241475"/>
                <a:gd name="connsiteY6" fmla="*/ 1415117 h 2709528"/>
                <a:gd name="connsiteX7" fmla="*/ 8241475 w 8241475"/>
                <a:gd name="connsiteY7" fmla="*/ 2068259 h 2709528"/>
                <a:gd name="connsiteX8" fmla="*/ 1888177 w 8241475"/>
                <a:gd name="connsiteY8" fmla="*/ 2709528 h 2709528"/>
                <a:gd name="connsiteX9" fmla="*/ 11876 w 8241475"/>
                <a:gd name="connsiteY9" fmla="*/ 1676373 h 2709528"/>
                <a:gd name="connsiteX10" fmla="*/ 0 w 8241475"/>
                <a:gd name="connsiteY10" fmla="*/ 1498244 h 2709528"/>
                <a:gd name="connsiteX0" fmla="*/ 0 w 8241475"/>
                <a:gd name="connsiteY0" fmla="*/ 1498244 h 2709528"/>
                <a:gd name="connsiteX1" fmla="*/ 1520041 w 8241475"/>
                <a:gd name="connsiteY1" fmla="*/ 761974 h 2709528"/>
                <a:gd name="connsiteX2" fmla="*/ 2695699 w 8241475"/>
                <a:gd name="connsiteY2" fmla="*/ 1094484 h 2709528"/>
                <a:gd name="connsiteX3" fmla="*/ 3966358 w 8241475"/>
                <a:gd name="connsiteY3" fmla="*/ 13829 h 2709528"/>
                <a:gd name="connsiteX4" fmla="*/ 5569527 w 8241475"/>
                <a:gd name="connsiteY4" fmla="*/ 940104 h 2709528"/>
                <a:gd name="connsiteX5" fmla="*/ 6852062 w 8241475"/>
                <a:gd name="connsiteY5" fmla="*/ 263211 h 2709528"/>
                <a:gd name="connsiteX6" fmla="*/ 8241475 w 8241475"/>
                <a:gd name="connsiteY6" fmla="*/ 1415117 h 2709528"/>
                <a:gd name="connsiteX7" fmla="*/ 8241475 w 8241475"/>
                <a:gd name="connsiteY7" fmla="*/ 2068259 h 2709528"/>
                <a:gd name="connsiteX8" fmla="*/ 1888177 w 8241475"/>
                <a:gd name="connsiteY8" fmla="*/ 2709528 h 2709528"/>
                <a:gd name="connsiteX9" fmla="*/ 11876 w 8241475"/>
                <a:gd name="connsiteY9" fmla="*/ 1676373 h 2709528"/>
                <a:gd name="connsiteX10" fmla="*/ 0 w 8241475"/>
                <a:gd name="connsiteY10" fmla="*/ 1498244 h 2709528"/>
                <a:gd name="connsiteX0" fmla="*/ 0 w 8241475"/>
                <a:gd name="connsiteY0" fmla="*/ 1498244 h 2709528"/>
                <a:gd name="connsiteX1" fmla="*/ 1520041 w 8241475"/>
                <a:gd name="connsiteY1" fmla="*/ 761974 h 2709528"/>
                <a:gd name="connsiteX2" fmla="*/ 2695699 w 8241475"/>
                <a:gd name="connsiteY2" fmla="*/ 1094484 h 2709528"/>
                <a:gd name="connsiteX3" fmla="*/ 3966358 w 8241475"/>
                <a:gd name="connsiteY3" fmla="*/ 13829 h 2709528"/>
                <a:gd name="connsiteX4" fmla="*/ 5569527 w 8241475"/>
                <a:gd name="connsiteY4" fmla="*/ 940104 h 2709528"/>
                <a:gd name="connsiteX5" fmla="*/ 6852062 w 8241475"/>
                <a:gd name="connsiteY5" fmla="*/ 263211 h 2709528"/>
                <a:gd name="connsiteX6" fmla="*/ 8241475 w 8241475"/>
                <a:gd name="connsiteY6" fmla="*/ 1415117 h 2709528"/>
                <a:gd name="connsiteX7" fmla="*/ 8241475 w 8241475"/>
                <a:gd name="connsiteY7" fmla="*/ 2068259 h 2709528"/>
                <a:gd name="connsiteX8" fmla="*/ 1769424 w 8241475"/>
                <a:gd name="connsiteY8" fmla="*/ 2709528 h 2709528"/>
                <a:gd name="connsiteX9" fmla="*/ 11876 w 8241475"/>
                <a:gd name="connsiteY9" fmla="*/ 1676373 h 2709528"/>
                <a:gd name="connsiteX10" fmla="*/ 0 w 8241475"/>
                <a:gd name="connsiteY10" fmla="*/ 1498244 h 2709528"/>
                <a:gd name="connsiteX0" fmla="*/ 0 w 8241475"/>
                <a:gd name="connsiteY0" fmla="*/ 1498244 h 2709528"/>
                <a:gd name="connsiteX1" fmla="*/ 1520041 w 8241475"/>
                <a:gd name="connsiteY1" fmla="*/ 761974 h 2709528"/>
                <a:gd name="connsiteX2" fmla="*/ 2695699 w 8241475"/>
                <a:gd name="connsiteY2" fmla="*/ 1094484 h 2709528"/>
                <a:gd name="connsiteX3" fmla="*/ 3966358 w 8241475"/>
                <a:gd name="connsiteY3" fmla="*/ 13829 h 2709528"/>
                <a:gd name="connsiteX4" fmla="*/ 5569527 w 8241475"/>
                <a:gd name="connsiteY4" fmla="*/ 940104 h 2709528"/>
                <a:gd name="connsiteX5" fmla="*/ 6852062 w 8241475"/>
                <a:gd name="connsiteY5" fmla="*/ 263211 h 2709528"/>
                <a:gd name="connsiteX6" fmla="*/ 8241475 w 8241475"/>
                <a:gd name="connsiteY6" fmla="*/ 1415117 h 2709528"/>
                <a:gd name="connsiteX7" fmla="*/ 8241475 w 8241475"/>
                <a:gd name="connsiteY7" fmla="*/ 2068259 h 2709528"/>
                <a:gd name="connsiteX8" fmla="*/ 1769424 w 8241475"/>
                <a:gd name="connsiteY8" fmla="*/ 2709528 h 2709528"/>
                <a:gd name="connsiteX9" fmla="*/ 11876 w 8241475"/>
                <a:gd name="connsiteY9" fmla="*/ 1676373 h 2709528"/>
                <a:gd name="connsiteX10" fmla="*/ 0 w 8241475"/>
                <a:gd name="connsiteY10" fmla="*/ 1498244 h 2709528"/>
                <a:gd name="connsiteX0" fmla="*/ 0 w 8241475"/>
                <a:gd name="connsiteY0" fmla="*/ 1498244 h 2709528"/>
                <a:gd name="connsiteX1" fmla="*/ 1520041 w 8241475"/>
                <a:gd name="connsiteY1" fmla="*/ 761974 h 2709528"/>
                <a:gd name="connsiteX2" fmla="*/ 2695699 w 8241475"/>
                <a:gd name="connsiteY2" fmla="*/ 1094484 h 2709528"/>
                <a:gd name="connsiteX3" fmla="*/ 3966358 w 8241475"/>
                <a:gd name="connsiteY3" fmla="*/ 13829 h 2709528"/>
                <a:gd name="connsiteX4" fmla="*/ 5569527 w 8241475"/>
                <a:gd name="connsiteY4" fmla="*/ 940104 h 2709528"/>
                <a:gd name="connsiteX5" fmla="*/ 6852062 w 8241475"/>
                <a:gd name="connsiteY5" fmla="*/ 263211 h 2709528"/>
                <a:gd name="connsiteX6" fmla="*/ 8241475 w 8241475"/>
                <a:gd name="connsiteY6" fmla="*/ 1415117 h 2709528"/>
                <a:gd name="connsiteX7" fmla="*/ 8241475 w 8241475"/>
                <a:gd name="connsiteY7" fmla="*/ 2068259 h 2709528"/>
                <a:gd name="connsiteX8" fmla="*/ 2850077 w 8241475"/>
                <a:gd name="connsiteY8" fmla="*/ 2614524 h 2709528"/>
                <a:gd name="connsiteX9" fmla="*/ 1769424 w 8241475"/>
                <a:gd name="connsiteY9" fmla="*/ 2709528 h 2709528"/>
                <a:gd name="connsiteX10" fmla="*/ 11876 w 8241475"/>
                <a:gd name="connsiteY10" fmla="*/ 1676373 h 2709528"/>
                <a:gd name="connsiteX11" fmla="*/ 0 w 8241475"/>
                <a:gd name="connsiteY11" fmla="*/ 1498244 h 2709528"/>
                <a:gd name="connsiteX0" fmla="*/ 0 w 8241475"/>
                <a:gd name="connsiteY0" fmla="*/ 1498244 h 2709528"/>
                <a:gd name="connsiteX1" fmla="*/ 1520041 w 8241475"/>
                <a:gd name="connsiteY1" fmla="*/ 761974 h 2709528"/>
                <a:gd name="connsiteX2" fmla="*/ 2695699 w 8241475"/>
                <a:gd name="connsiteY2" fmla="*/ 1094484 h 2709528"/>
                <a:gd name="connsiteX3" fmla="*/ 3966358 w 8241475"/>
                <a:gd name="connsiteY3" fmla="*/ 13829 h 2709528"/>
                <a:gd name="connsiteX4" fmla="*/ 5569527 w 8241475"/>
                <a:gd name="connsiteY4" fmla="*/ 940104 h 2709528"/>
                <a:gd name="connsiteX5" fmla="*/ 6852062 w 8241475"/>
                <a:gd name="connsiteY5" fmla="*/ 263211 h 2709528"/>
                <a:gd name="connsiteX6" fmla="*/ 8241475 w 8241475"/>
                <a:gd name="connsiteY6" fmla="*/ 1415117 h 2709528"/>
                <a:gd name="connsiteX7" fmla="*/ 8241475 w 8241475"/>
                <a:gd name="connsiteY7" fmla="*/ 2068259 h 2709528"/>
                <a:gd name="connsiteX8" fmla="*/ 2636322 w 8241475"/>
                <a:gd name="connsiteY8" fmla="*/ 2127635 h 2709528"/>
                <a:gd name="connsiteX9" fmla="*/ 1769424 w 8241475"/>
                <a:gd name="connsiteY9" fmla="*/ 2709528 h 2709528"/>
                <a:gd name="connsiteX10" fmla="*/ 11876 w 8241475"/>
                <a:gd name="connsiteY10" fmla="*/ 1676373 h 2709528"/>
                <a:gd name="connsiteX11" fmla="*/ 0 w 8241475"/>
                <a:gd name="connsiteY11" fmla="*/ 1498244 h 2709528"/>
                <a:gd name="connsiteX0" fmla="*/ 0 w 8241475"/>
                <a:gd name="connsiteY0" fmla="*/ 1498244 h 2709528"/>
                <a:gd name="connsiteX1" fmla="*/ 1520041 w 8241475"/>
                <a:gd name="connsiteY1" fmla="*/ 761974 h 2709528"/>
                <a:gd name="connsiteX2" fmla="*/ 2695699 w 8241475"/>
                <a:gd name="connsiteY2" fmla="*/ 1094484 h 2709528"/>
                <a:gd name="connsiteX3" fmla="*/ 3966358 w 8241475"/>
                <a:gd name="connsiteY3" fmla="*/ 13829 h 2709528"/>
                <a:gd name="connsiteX4" fmla="*/ 5569527 w 8241475"/>
                <a:gd name="connsiteY4" fmla="*/ 940104 h 2709528"/>
                <a:gd name="connsiteX5" fmla="*/ 6852062 w 8241475"/>
                <a:gd name="connsiteY5" fmla="*/ 263211 h 2709528"/>
                <a:gd name="connsiteX6" fmla="*/ 8241475 w 8241475"/>
                <a:gd name="connsiteY6" fmla="*/ 1415117 h 2709528"/>
                <a:gd name="connsiteX7" fmla="*/ 8241475 w 8241475"/>
                <a:gd name="connsiteY7" fmla="*/ 2068259 h 2709528"/>
                <a:gd name="connsiteX8" fmla="*/ 2636322 w 8241475"/>
                <a:gd name="connsiteY8" fmla="*/ 2127635 h 2709528"/>
                <a:gd name="connsiteX9" fmla="*/ 1769424 w 8241475"/>
                <a:gd name="connsiteY9" fmla="*/ 2709528 h 2709528"/>
                <a:gd name="connsiteX10" fmla="*/ 11876 w 8241475"/>
                <a:gd name="connsiteY10" fmla="*/ 1676373 h 2709528"/>
                <a:gd name="connsiteX11" fmla="*/ 0 w 8241475"/>
                <a:gd name="connsiteY11" fmla="*/ 1498244 h 2709528"/>
                <a:gd name="connsiteX0" fmla="*/ 0 w 8241475"/>
                <a:gd name="connsiteY0" fmla="*/ 1498244 h 3186175"/>
                <a:gd name="connsiteX1" fmla="*/ 1520041 w 8241475"/>
                <a:gd name="connsiteY1" fmla="*/ 761974 h 3186175"/>
                <a:gd name="connsiteX2" fmla="*/ 2695699 w 8241475"/>
                <a:gd name="connsiteY2" fmla="*/ 1094484 h 3186175"/>
                <a:gd name="connsiteX3" fmla="*/ 3966358 w 8241475"/>
                <a:gd name="connsiteY3" fmla="*/ 13829 h 3186175"/>
                <a:gd name="connsiteX4" fmla="*/ 5569527 w 8241475"/>
                <a:gd name="connsiteY4" fmla="*/ 940104 h 3186175"/>
                <a:gd name="connsiteX5" fmla="*/ 6852062 w 8241475"/>
                <a:gd name="connsiteY5" fmla="*/ 263211 h 3186175"/>
                <a:gd name="connsiteX6" fmla="*/ 8241475 w 8241475"/>
                <a:gd name="connsiteY6" fmla="*/ 1415117 h 3186175"/>
                <a:gd name="connsiteX7" fmla="*/ 8241475 w 8241475"/>
                <a:gd name="connsiteY7" fmla="*/ 2068259 h 3186175"/>
                <a:gd name="connsiteX8" fmla="*/ 2636322 w 8241475"/>
                <a:gd name="connsiteY8" fmla="*/ 2127635 h 3186175"/>
                <a:gd name="connsiteX9" fmla="*/ 1769424 w 8241475"/>
                <a:gd name="connsiteY9" fmla="*/ 2709528 h 3186175"/>
                <a:gd name="connsiteX10" fmla="*/ 11876 w 8241475"/>
                <a:gd name="connsiteY10" fmla="*/ 1676373 h 3186175"/>
                <a:gd name="connsiteX11" fmla="*/ 0 w 8241475"/>
                <a:gd name="connsiteY11" fmla="*/ 1498244 h 3186175"/>
                <a:gd name="connsiteX0" fmla="*/ 0 w 8241475"/>
                <a:gd name="connsiteY0" fmla="*/ 1498244 h 2720160"/>
                <a:gd name="connsiteX1" fmla="*/ 1520041 w 8241475"/>
                <a:gd name="connsiteY1" fmla="*/ 761974 h 2720160"/>
                <a:gd name="connsiteX2" fmla="*/ 2695699 w 8241475"/>
                <a:gd name="connsiteY2" fmla="*/ 1094484 h 2720160"/>
                <a:gd name="connsiteX3" fmla="*/ 3966358 w 8241475"/>
                <a:gd name="connsiteY3" fmla="*/ 13829 h 2720160"/>
                <a:gd name="connsiteX4" fmla="*/ 5569527 w 8241475"/>
                <a:gd name="connsiteY4" fmla="*/ 940104 h 2720160"/>
                <a:gd name="connsiteX5" fmla="*/ 6852062 w 8241475"/>
                <a:gd name="connsiteY5" fmla="*/ 263211 h 2720160"/>
                <a:gd name="connsiteX6" fmla="*/ 8241475 w 8241475"/>
                <a:gd name="connsiteY6" fmla="*/ 1415117 h 2720160"/>
                <a:gd name="connsiteX7" fmla="*/ 8241475 w 8241475"/>
                <a:gd name="connsiteY7" fmla="*/ 2068259 h 2720160"/>
                <a:gd name="connsiteX8" fmla="*/ 2636322 w 8241475"/>
                <a:gd name="connsiteY8" fmla="*/ 2127635 h 2720160"/>
                <a:gd name="connsiteX9" fmla="*/ 1769424 w 8241475"/>
                <a:gd name="connsiteY9" fmla="*/ 2709528 h 2720160"/>
                <a:gd name="connsiteX10" fmla="*/ 11876 w 8241475"/>
                <a:gd name="connsiteY10" fmla="*/ 1676373 h 2720160"/>
                <a:gd name="connsiteX11" fmla="*/ 0 w 8241475"/>
                <a:gd name="connsiteY11" fmla="*/ 1498244 h 2720160"/>
                <a:gd name="connsiteX0" fmla="*/ 0 w 8241475"/>
                <a:gd name="connsiteY0" fmla="*/ 1498244 h 2717044"/>
                <a:gd name="connsiteX1" fmla="*/ 1520041 w 8241475"/>
                <a:gd name="connsiteY1" fmla="*/ 761974 h 2717044"/>
                <a:gd name="connsiteX2" fmla="*/ 2695699 w 8241475"/>
                <a:gd name="connsiteY2" fmla="*/ 1094484 h 2717044"/>
                <a:gd name="connsiteX3" fmla="*/ 3966358 w 8241475"/>
                <a:gd name="connsiteY3" fmla="*/ 13829 h 2717044"/>
                <a:gd name="connsiteX4" fmla="*/ 5569527 w 8241475"/>
                <a:gd name="connsiteY4" fmla="*/ 940104 h 2717044"/>
                <a:gd name="connsiteX5" fmla="*/ 6852062 w 8241475"/>
                <a:gd name="connsiteY5" fmla="*/ 263211 h 2717044"/>
                <a:gd name="connsiteX6" fmla="*/ 8241475 w 8241475"/>
                <a:gd name="connsiteY6" fmla="*/ 1415117 h 2717044"/>
                <a:gd name="connsiteX7" fmla="*/ 8241475 w 8241475"/>
                <a:gd name="connsiteY7" fmla="*/ 2068259 h 2717044"/>
                <a:gd name="connsiteX8" fmla="*/ 2719449 w 8241475"/>
                <a:gd name="connsiteY8" fmla="*/ 2139511 h 2717044"/>
                <a:gd name="connsiteX9" fmla="*/ 1769424 w 8241475"/>
                <a:gd name="connsiteY9" fmla="*/ 2709528 h 2717044"/>
                <a:gd name="connsiteX10" fmla="*/ 11876 w 8241475"/>
                <a:gd name="connsiteY10" fmla="*/ 1676373 h 2717044"/>
                <a:gd name="connsiteX11" fmla="*/ 0 w 8241475"/>
                <a:gd name="connsiteY11" fmla="*/ 1498244 h 2717044"/>
                <a:gd name="connsiteX0" fmla="*/ 0 w 8241475"/>
                <a:gd name="connsiteY0" fmla="*/ 1498244 h 2714853"/>
                <a:gd name="connsiteX1" fmla="*/ 1520041 w 8241475"/>
                <a:gd name="connsiteY1" fmla="*/ 761974 h 2714853"/>
                <a:gd name="connsiteX2" fmla="*/ 2695699 w 8241475"/>
                <a:gd name="connsiteY2" fmla="*/ 1094484 h 2714853"/>
                <a:gd name="connsiteX3" fmla="*/ 3966358 w 8241475"/>
                <a:gd name="connsiteY3" fmla="*/ 13829 h 2714853"/>
                <a:gd name="connsiteX4" fmla="*/ 5569527 w 8241475"/>
                <a:gd name="connsiteY4" fmla="*/ 940104 h 2714853"/>
                <a:gd name="connsiteX5" fmla="*/ 6852062 w 8241475"/>
                <a:gd name="connsiteY5" fmla="*/ 263211 h 2714853"/>
                <a:gd name="connsiteX6" fmla="*/ 8241475 w 8241475"/>
                <a:gd name="connsiteY6" fmla="*/ 1415117 h 2714853"/>
                <a:gd name="connsiteX7" fmla="*/ 8241475 w 8241475"/>
                <a:gd name="connsiteY7" fmla="*/ 2068259 h 2714853"/>
                <a:gd name="connsiteX8" fmla="*/ 2719449 w 8241475"/>
                <a:gd name="connsiteY8" fmla="*/ 2139511 h 2714853"/>
                <a:gd name="connsiteX9" fmla="*/ 1769424 w 8241475"/>
                <a:gd name="connsiteY9" fmla="*/ 2709528 h 2714853"/>
                <a:gd name="connsiteX10" fmla="*/ 11876 w 8241475"/>
                <a:gd name="connsiteY10" fmla="*/ 1676373 h 2714853"/>
                <a:gd name="connsiteX11" fmla="*/ 0 w 8241475"/>
                <a:gd name="connsiteY11" fmla="*/ 1498244 h 2714853"/>
                <a:gd name="connsiteX0" fmla="*/ 0 w 8241475"/>
                <a:gd name="connsiteY0" fmla="*/ 1498244 h 3154075"/>
                <a:gd name="connsiteX1" fmla="*/ 1520041 w 8241475"/>
                <a:gd name="connsiteY1" fmla="*/ 761974 h 3154075"/>
                <a:gd name="connsiteX2" fmla="*/ 2695699 w 8241475"/>
                <a:gd name="connsiteY2" fmla="*/ 1094484 h 3154075"/>
                <a:gd name="connsiteX3" fmla="*/ 3966358 w 8241475"/>
                <a:gd name="connsiteY3" fmla="*/ 13829 h 3154075"/>
                <a:gd name="connsiteX4" fmla="*/ 5569527 w 8241475"/>
                <a:gd name="connsiteY4" fmla="*/ 940104 h 3154075"/>
                <a:gd name="connsiteX5" fmla="*/ 6852062 w 8241475"/>
                <a:gd name="connsiteY5" fmla="*/ 263211 h 3154075"/>
                <a:gd name="connsiteX6" fmla="*/ 8241475 w 8241475"/>
                <a:gd name="connsiteY6" fmla="*/ 1415117 h 3154075"/>
                <a:gd name="connsiteX7" fmla="*/ 8241475 w 8241475"/>
                <a:gd name="connsiteY7" fmla="*/ 2068259 h 3154075"/>
                <a:gd name="connsiteX8" fmla="*/ 2719449 w 8241475"/>
                <a:gd name="connsiteY8" fmla="*/ 2139511 h 3154075"/>
                <a:gd name="connsiteX9" fmla="*/ 1769424 w 8241475"/>
                <a:gd name="connsiteY9" fmla="*/ 2709528 h 3154075"/>
                <a:gd name="connsiteX10" fmla="*/ 11876 w 8241475"/>
                <a:gd name="connsiteY10" fmla="*/ 1676373 h 3154075"/>
                <a:gd name="connsiteX11" fmla="*/ 0 w 8241475"/>
                <a:gd name="connsiteY11" fmla="*/ 1498244 h 3154075"/>
                <a:gd name="connsiteX0" fmla="*/ 0 w 8241475"/>
                <a:gd name="connsiteY0" fmla="*/ 1498244 h 2766240"/>
                <a:gd name="connsiteX1" fmla="*/ 1520041 w 8241475"/>
                <a:gd name="connsiteY1" fmla="*/ 761974 h 2766240"/>
                <a:gd name="connsiteX2" fmla="*/ 2695699 w 8241475"/>
                <a:gd name="connsiteY2" fmla="*/ 1094484 h 2766240"/>
                <a:gd name="connsiteX3" fmla="*/ 3966358 w 8241475"/>
                <a:gd name="connsiteY3" fmla="*/ 13829 h 2766240"/>
                <a:gd name="connsiteX4" fmla="*/ 5569527 w 8241475"/>
                <a:gd name="connsiteY4" fmla="*/ 940104 h 2766240"/>
                <a:gd name="connsiteX5" fmla="*/ 6852062 w 8241475"/>
                <a:gd name="connsiteY5" fmla="*/ 263211 h 2766240"/>
                <a:gd name="connsiteX6" fmla="*/ 8241475 w 8241475"/>
                <a:gd name="connsiteY6" fmla="*/ 1415117 h 2766240"/>
                <a:gd name="connsiteX7" fmla="*/ 8241475 w 8241475"/>
                <a:gd name="connsiteY7" fmla="*/ 2068259 h 2766240"/>
                <a:gd name="connsiteX8" fmla="*/ 2719449 w 8241475"/>
                <a:gd name="connsiteY8" fmla="*/ 2139511 h 2766240"/>
                <a:gd name="connsiteX9" fmla="*/ 1769424 w 8241475"/>
                <a:gd name="connsiteY9" fmla="*/ 2709528 h 2766240"/>
                <a:gd name="connsiteX10" fmla="*/ 11876 w 8241475"/>
                <a:gd name="connsiteY10" fmla="*/ 1676373 h 2766240"/>
                <a:gd name="connsiteX11" fmla="*/ 0 w 8241475"/>
                <a:gd name="connsiteY11" fmla="*/ 1498244 h 2766240"/>
                <a:gd name="connsiteX0" fmla="*/ 0 w 8241475"/>
                <a:gd name="connsiteY0" fmla="*/ 1498244 h 2139511"/>
                <a:gd name="connsiteX1" fmla="*/ 1520041 w 8241475"/>
                <a:gd name="connsiteY1" fmla="*/ 761974 h 2139511"/>
                <a:gd name="connsiteX2" fmla="*/ 2695699 w 8241475"/>
                <a:gd name="connsiteY2" fmla="*/ 1094484 h 2139511"/>
                <a:gd name="connsiteX3" fmla="*/ 3966358 w 8241475"/>
                <a:gd name="connsiteY3" fmla="*/ 13829 h 2139511"/>
                <a:gd name="connsiteX4" fmla="*/ 5569527 w 8241475"/>
                <a:gd name="connsiteY4" fmla="*/ 940104 h 2139511"/>
                <a:gd name="connsiteX5" fmla="*/ 6852062 w 8241475"/>
                <a:gd name="connsiteY5" fmla="*/ 263211 h 2139511"/>
                <a:gd name="connsiteX6" fmla="*/ 8241475 w 8241475"/>
                <a:gd name="connsiteY6" fmla="*/ 1415117 h 2139511"/>
                <a:gd name="connsiteX7" fmla="*/ 8241475 w 8241475"/>
                <a:gd name="connsiteY7" fmla="*/ 2068259 h 2139511"/>
                <a:gd name="connsiteX8" fmla="*/ 2719449 w 8241475"/>
                <a:gd name="connsiteY8" fmla="*/ 2139511 h 2139511"/>
                <a:gd name="connsiteX9" fmla="*/ 1163783 w 8241475"/>
                <a:gd name="connsiteY9" fmla="*/ 1997009 h 2139511"/>
                <a:gd name="connsiteX10" fmla="*/ 11876 w 8241475"/>
                <a:gd name="connsiteY10" fmla="*/ 1676373 h 2139511"/>
                <a:gd name="connsiteX11" fmla="*/ 0 w 8241475"/>
                <a:gd name="connsiteY11" fmla="*/ 1498244 h 2139511"/>
                <a:gd name="connsiteX0" fmla="*/ 0 w 8241475"/>
                <a:gd name="connsiteY0" fmla="*/ 1498244 h 2369347"/>
                <a:gd name="connsiteX1" fmla="*/ 1520041 w 8241475"/>
                <a:gd name="connsiteY1" fmla="*/ 761974 h 2369347"/>
                <a:gd name="connsiteX2" fmla="*/ 2695699 w 8241475"/>
                <a:gd name="connsiteY2" fmla="*/ 1094484 h 2369347"/>
                <a:gd name="connsiteX3" fmla="*/ 3966358 w 8241475"/>
                <a:gd name="connsiteY3" fmla="*/ 13829 h 2369347"/>
                <a:gd name="connsiteX4" fmla="*/ 5569527 w 8241475"/>
                <a:gd name="connsiteY4" fmla="*/ 940104 h 2369347"/>
                <a:gd name="connsiteX5" fmla="*/ 6852062 w 8241475"/>
                <a:gd name="connsiteY5" fmla="*/ 263211 h 2369347"/>
                <a:gd name="connsiteX6" fmla="*/ 8241475 w 8241475"/>
                <a:gd name="connsiteY6" fmla="*/ 1415117 h 2369347"/>
                <a:gd name="connsiteX7" fmla="*/ 8241475 w 8241475"/>
                <a:gd name="connsiteY7" fmla="*/ 2068259 h 2369347"/>
                <a:gd name="connsiteX8" fmla="*/ 2719449 w 8241475"/>
                <a:gd name="connsiteY8" fmla="*/ 2139511 h 2369347"/>
                <a:gd name="connsiteX9" fmla="*/ 1163783 w 8241475"/>
                <a:gd name="connsiteY9" fmla="*/ 1997009 h 2369347"/>
                <a:gd name="connsiteX10" fmla="*/ 11876 w 8241475"/>
                <a:gd name="connsiteY10" fmla="*/ 1676373 h 2369347"/>
                <a:gd name="connsiteX11" fmla="*/ 0 w 8241475"/>
                <a:gd name="connsiteY11" fmla="*/ 1498244 h 2369347"/>
                <a:gd name="connsiteX0" fmla="*/ 0 w 8241475"/>
                <a:gd name="connsiteY0" fmla="*/ 1498244 h 2628974"/>
                <a:gd name="connsiteX1" fmla="*/ 1520041 w 8241475"/>
                <a:gd name="connsiteY1" fmla="*/ 761974 h 2628974"/>
                <a:gd name="connsiteX2" fmla="*/ 2695699 w 8241475"/>
                <a:gd name="connsiteY2" fmla="*/ 1094484 h 2628974"/>
                <a:gd name="connsiteX3" fmla="*/ 3966358 w 8241475"/>
                <a:gd name="connsiteY3" fmla="*/ 13829 h 2628974"/>
                <a:gd name="connsiteX4" fmla="*/ 5569527 w 8241475"/>
                <a:gd name="connsiteY4" fmla="*/ 940104 h 2628974"/>
                <a:gd name="connsiteX5" fmla="*/ 6852062 w 8241475"/>
                <a:gd name="connsiteY5" fmla="*/ 263211 h 2628974"/>
                <a:gd name="connsiteX6" fmla="*/ 8241475 w 8241475"/>
                <a:gd name="connsiteY6" fmla="*/ 1415117 h 2628974"/>
                <a:gd name="connsiteX7" fmla="*/ 8241475 w 8241475"/>
                <a:gd name="connsiteY7" fmla="*/ 2068259 h 2628974"/>
                <a:gd name="connsiteX8" fmla="*/ 2719449 w 8241475"/>
                <a:gd name="connsiteY8" fmla="*/ 2139511 h 2628974"/>
                <a:gd name="connsiteX9" fmla="*/ 1425041 w 8241475"/>
                <a:gd name="connsiteY9" fmla="*/ 2329518 h 2628974"/>
                <a:gd name="connsiteX10" fmla="*/ 11876 w 8241475"/>
                <a:gd name="connsiteY10" fmla="*/ 1676373 h 2628974"/>
                <a:gd name="connsiteX11" fmla="*/ 0 w 8241475"/>
                <a:gd name="connsiteY11" fmla="*/ 1498244 h 2628974"/>
                <a:gd name="connsiteX0" fmla="*/ 0 w 8241475"/>
                <a:gd name="connsiteY0" fmla="*/ 1498244 h 2685419"/>
                <a:gd name="connsiteX1" fmla="*/ 1520041 w 8241475"/>
                <a:gd name="connsiteY1" fmla="*/ 761974 h 2685419"/>
                <a:gd name="connsiteX2" fmla="*/ 2695699 w 8241475"/>
                <a:gd name="connsiteY2" fmla="*/ 1094484 h 2685419"/>
                <a:gd name="connsiteX3" fmla="*/ 3966358 w 8241475"/>
                <a:gd name="connsiteY3" fmla="*/ 13829 h 2685419"/>
                <a:gd name="connsiteX4" fmla="*/ 5569527 w 8241475"/>
                <a:gd name="connsiteY4" fmla="*/ 940104 h 2685419"/>
                <a:gd name="connsiteX5" fmla="*/ 6852062 w 8241475"/>
                <a:gd name="connsiteY5" fmla="*/ 263211 h 2685419"/>
                <a:gd name="connsiteX6" fmla="*/ 8241475 w 8241475"/>
                <a:gd name="connsiteY6" fmla="*/ 1415117 h 2685419"/>
                <a:gd name="connsiteX7" fmla="*/ 8241475 w 8241475"/>
                <a:gd name="connsiteY7" fmla="*/ 2068259 h 2685419"/>
                <a:gd name="connsiteX8" fmla="*/ 2719449 w 8241475"/>
                <a:gd name="connsiteY8" fmla="*/ 2139511 h 2685419"/>
                <a:gd name="connsiteX9" fmla="*/ 1425041 w 8241475"/>
                <a:gd name="connsiteY9" fmla="*/ 2329518 h 2685419"/>
                <a:gd name="connsiteX10" fmla="*/ 11876 w 8241475"/>
                <a:gd name="connsiteY10" fmla="*/ 1676373 h 2685419"/>
                <a:gd name="connsiteX11" fmla="*/ 0 w 8241475"/>
                <a:gd name="connsiteY11" fmla="*/ 1498244 h 2685419"/>
                <a:gd name="connsiteX0" fmla="*/ 0 w 8241475"/>
                <a:gd name="connsiteY0" fmla="*/ 1498244 h 2734139"/>
                <a:gd name="connsiteX1" fmla="*/ 1520041 w 8241475"/>
                <a:gd name="connsiteY1" fmla="*/ 761974 h 2734139"/>
                <a:gd name="connsiteX2" fmla="*/ 2695699 w 8241475"/>
                <a:gd name="connsiteY2" fmla="*/ 1094484 h 2734139"/>
                <a:gd name="connsiteX3" fmla="*/ 3966358 w 8241475"/>
                <a:gd name="connsiteY3" fmla="*/ 13829 h 2734139"/>
                <a:gd name="connsiteX4" fmla="*/ 5569527 w 8241475"/>
                <a:gd name="connsiteY4" fmla="*/ 940104 h 2734139"/>
                <a:gd name="connsiteX5" fmla="*/ 6852062 w 8241475"/>
                <a:gd name="connsiteY5" fmla="*/ 263211 h 2734139"/>
                <a:gd name="connsiteX6" fmla="*/ 8241475 w 8241475"/>
                <a:gd name="connsiteY6" fmla="*/ 1415117 h 2734139"/>
                <a:gd name="connsiteX7" fmla="*/ 8241475 w 8241475"/>
                <a:gd name="connsiteY7" fmla="*/ 2068259 h 2734139"/>
                <a:gd name="connsiteX8" fmla="*/ 2719449 w 8241475"/>
                <a:gd name="connsiteY8" fmla="*/ 2139511 h 2734139"/>
                <a:gd name="connsiteX9" fmla="*/ 1413166 w 8241475"/>
                <a:gd name="connsiteY9" fmla="*/ 2388895 h 2734139"/>
                <a:gd name="connsiteX10" fmla="*/ 11876 w 8241475"/>
                <a:gd name="connsiteY10" fmla="*/ 1676373 h 2734139"/>
                <a:gd name="connsiteX11" fmla="*/ 0 w 8241475"/>
                <a:gd name="connsiteY11" fmla="*/ 1498244 h 2734139"/>
                <a:gd name="connsiteX0" fmla="*/ 0 w 8241475"/>
                <a:gd name="connsiteY0" fmla="*/ 1498244 h 2683311"/>
                <a:gd name="connsiteX1" fmla="*/ 1520041 w 8241475"/>
                <a:gd name="connsiteY1" fmla="*/ 761974 h 2683311"/>
                <a:gd name="connsiteX2" fmla="*/ 2695699 w 8241475"/>
                <a:gd name="connsiteY2" fmla="*/ 1094484 h 2683311"/>
                <a:gd name="connsiteX3" fmla="*/ 3966358 w 8241475"/>
                <a:gd name="connsiteY3" fmla="*/ 13829 h 2683311"/>
                <a:gd name="connsiteX4" fmla="*/ 5569527 w 8241475"/>
                <a:gd name="connsiteY4" fmla="*/ 940104 h 2683311"/>
                <a:gd name="connsiteX5" fmla="*/ 6852062 w 8241475"/>
                <a:gd name="connsiteY5" fmla="*/ 263211 h 2683311"/>
                <a:gd name="connsiteX6" fmla="*/ 8241475 w 8241475"/>
                <a:gd name="connsiteY6" fmla="*/ 1415117 h 2683311"/>
                <a:gd name="connsiteX7" fmla="*/ 8241475 w 8241475"/>
                <a:gd name="connsiteY7" fmla="*/ 2068259 h 2683311"/>
                <a:gd name="connsiteX8" fmla="*/ 2719449 w 8241475"/>
                <a:gd name="connsiteY8" fmla="*/ 2139511 h 2683311"/>
                <a:gd name="connsiteX9" fmla="*/ 1413166 w 8241475"/>
                <a:gd name="connsiteY9" fmla="*/ 2388895 h 2683311"/>
                <a:gd name="connsiteX10" fmla="*/ 11876 w 8241475"/>
                <a:gd name="connsiteY10" fmla="*/ 1676373 h 2683311"/>
                <a:gd name="connsiteX11" fmla="*/ 0 w 8241475"/>
                <a:gd name="connsiteY11" fmla="*/ 1498244 h 2683311"/>
                <a:gd name="connsiteX0" fmla="*/ 0 w 8241475"/>
                <a:gd name="connsiteY0" fmla="*/ 1498244 h 2683311"/>
                <a:gd name="connsiteX1" fmla="*/ 1520041 w 8241475"/>
                <a:gd name="connsiteY1" fmla="*/ 761974 h 2683311"/>
                <a:gd name="connsiteX2" fmla="*/ 2695699 w 8241475"/>
                <a:gd name="connsiteY2" fmla="*/ 1094484 h 2683311"/>
                <a:gd name="connsiteX3" fmla="*/ 3966358 w 8241475"/>
                <a:gd name="connsiteY3" fmla="*/ 13829 h 2683311"/>
                <a:gd name="connsiteX4" fmla="*/ 5569527 w 8241475"/>
                <a:gd name="connsiteY4" fmla="*/ 940104 h 2683311"/>
                <a:gd name="connsiteX5" fmla="*/ 6852062 w 8241475"/>
                <a:gd name="connsiteY5" fmla="*/ 263211 h 2683311"/>
                <a:gd name="connsiteX6" fmla="*/ 8241475 w 8241475"/>
                <a:gd name="connsiteY6" fmla="*/ 1415117 h 2683311"/>
                <a:gd name="connsiteX7" fmla="*/ 8241475 w 8241475"/>
                <a:gd name="connsiteY7" fmla="*/ 2068259 h 2683311"/>
                <a:gd name="connsiteX8" fmla="*/ 4049485 w 8241475"/>
                <a:gd name="connsiteY8" fmla="*/ 2115761 h 2683311"/>
                <a:gd name="connsiteX9" fmla="*/ 2719449 w 8241475"/>
                <a:gd name="connsiteY9" fmla="*/ 2139511 h 2683311"/>
                <a:gd name="connsiteX10" fmla="*/ 1413166 w 8241475"/>
                <a:gd name="connsiteY10" fmla="*/ 2388895 h 2683311"/>
                <a:gd name="connsiteX11" fmla="*/ 11876 w 8241475"/>
                <a:gd name="connsiteY11" fmla="*/ 1676373 h 2683311"/>
                <a:gd name="connsiteX12" fmla="*/ 0 w 8241475"/>
                <a:gd name="connsiteY12" fmla="*/ 1498244 h 2683311"/>
                <a:gd name="connsiteX0" fmla="*/ 0 w 8241475"/>
                <a:gd name="connsiteY0" fmla="*/ 1498244 h 3184540"/>
                <a:gd name="connsiteX1" fmla="*/ 1520041 w 8241475"/>
                <a:gd name="connsiteY1" fmla="*/ 761974 h 3184540"/>
                <a:gd name="connsiteX2" fmla="*/ 2695699 w 8241475"/>
                <a:gd name="connsiteY2" fmla="*/ 1094484 h 3184540"/>
                <a:gd name="connsiteX3" fmla="*/ 3966358 w 8241475"/>
                <a:gd name="connsiteY3" fmla="*/ 13829 h 3184540"/>
                <a:gd name="connsiteX4" fmla="*/ 5569527 w 8241475"/>
                <a:gd name="connsiteY4" fmla="*/ 940104 h 3184540"/>
                <a:gd name="connsiteX5" fmla="*/ 6852062 w 8241475"/>
                <a:gd name="connsiteY5" fmla="*/ 263211 h 3184540"/>
                <a:gd name="connsiteX6" fmla="*/ 8241475 w 8241475"/>
                <a:gd name="connsiteY6" fmla="*/ 1415117 h 3184540"/>
                <a:gd name="connsiteX7" fmla="*/ 8241475 w 8241475"/>
                <a:gd name="connsiteY7" fmla="*/ 2068259 h 3184540"/>
                <a:gd name="connsiteX8" fmla="*/ 3942607 w 8241475"/>
                <a:gd name="connsiteY8" fmla="*/ 3184540 h 3184540"/>
                <a:gd name="connsiteX9" fmla="*/ 2719449 w 8241475"/>
                <a:gd name="connsiteY9" fmla="*/ 2139511 h 3184540"/>
                <a:gd name="connsiteX10" fmla="*/ 1413166 w 8241475"/>
                <a:gd name="connsiteY10" fmla="*/ 2388895 h 3184540"/>
                <a:gd name="connsiteX11" fmla="*/ 11876 w 8241475"/>
                <a:gd name="connsiteY11" fmla="*/ 1676373 h 3184540"/>
                <a:gd name="connsiteX12" fmla="*/ 0 w 8241475"/>
                <a:gd name="connsiteY12" fmla="*/ 1498244 h 3184540"/>
                <a:gd name="connsiteX0" fmla="*/ 0 w 8241475"/>
                <a:gd name="connsiteY0" fmla="*/ 1498244 h 3184540"/>
                <a:gd name="connsiteX1" fmla="*/ 1520041 w 8241475"/>
                <a:gd name="connsiteY1" fmla="*/ 761974 h 3184540"/>
                <a:gd name="connsiteX2" fmla="*/ 2695699 w 8241475"/>
                <a:gd name="connsiteY2" fmla="*/ 1094484 h 3184540"/>
                <a:gd name="connsiteX3" fmla="*/ 3966358 w 8241475"/>
                <a:gd name="connsiteY3" fmla="*/ 13829 h 3184540"/>
                <a:gd name="connsiteX4" fmla="*/ 5569527 w 8241475"/>
                <a:gd name="connsiteY4" fmla="*/ 940104 h 3184540"/>
                <a:gd name="connsiteX5" fmla="*/ 6852062 w 8241475"/>
                <a:gd name="connsiteY5" fmla="*/ 263211 h 3184540"/>
                <a:gd name="connsiteX6" fmla="*/ 8241475 w 8241475"/>
                <a:gd name="connsiteY6" fmla="*/ 1415117 h 3184540"/>
                <a:gd name="connsiteX7" fmla="*/ 8241475 w 8241475"/>
                <a:gd name="connsiteY7" fmla="*/ 2068259 h 3184540"/>
                <a:gd name="connsiteX8" fmla="*/ 3942607 w 8241475"/>
                <a:gd name="connsiteY8" fmla="*/ 3184540 h 3184540"/>
                <a:gd name="connsiteX9" fmla="*/ 2719449 w 8241475"/>
                <a:gd name="connsiteY9" fmla="*/ 2139511 h 3184540"/>
                <a:gd name="connsiteX10" fmla="*/ 1413166 w 8241475"/>
                <a:gd name="connsiteY10" fmla="*/ 2388895 h 3184540"/>
                <a:gd name="connsiteX11" fmla="*/ 11876 w 8241475"/>
                <a:gd name="connsiteY11" fmla="*/ 1676373 h 3184540"/>
                <a:gd name="connsiteX12" fmla="*/ 0 w 8241475"/>
                <a:gd name="connsiteY12" fmla="*/ 1498244 h 3184540"/>
                <a:gd name="connsiteX0" fmla="*/ 0 w 8241475"/>
                <a:gd name="connsiteY0" fmla="*/ 1498244 h 3184540"/>
                <a:gd name="connsiteX1" fmla="*/ 1520041 w 8241475"/>
                <a:gd name="connsiteY1" fmla="*/ 761974 h 3184540"/>
                <a:gd name="connsiteX2" fmla="*/ 2695699 w 8241475"/>
                <a:gd name="connsiteY2" fmla="*/ 1094484 h 3184540"/>
                <a:gd name="connsiteX3" fmla="*/ 3966358 w 8241475"/>
                <a:gd name="connsiteY3" fmla="*/ 13829 h 3184540"/>
                <a:gd name="connsiteX4" fmla="*/ 5569527 w 8241475"/>
                <a:gd name="connsiteY4" fmla="*/ 940104 h 3184540"/>
                <a:gd name="connsiteX5" fmla="*/ 6852062 w 8241475"/>
                <a:gd name="connsiteY5" fmla="*/ 263211 h 3184540"/>
                <a:gd name="connsiteX6" fmla="*/ 8241475 w 8241475"/>
                <a:gd name="connsiteY6" fmla="*/ 1415117 h 3184540"/>
                <a:gd name="connsiteX7" fmla="*/ 8241475 w 8241475"/>
                <a:gd name="connsiteY7" fmla="*/ 2068259 h 3184540"/>
                <a:gd name="connsiteX8" fmla="*/ 3942607 w 8241475"/>
                <a:gd name="connsiteY8" fmla="*/ 3184540 h 3184540"/>
                <a:gd name="connsiteX9" fmla="*/ 2719449 w 8241475"/>
                <a:gd name="connsiteY9" fmla="*/ 2139511 h 3184540"/>
                <a:gd name="connsiteX10" fmla="*/ 1413166 w 8241475"/>
                <a:gd name="connsiteY10" fmla="*/ 2388895 h 3184540"/>
                <a:gd name="connsiteX11" fmla="*/ 11876 w 8241475"/>
                <a:gd name="connsiteY11" fmla="*/ 1676373 h 3184540"/>
                <a:gd name="connsiteX12" fmla="*/ 0 w 8241475"/>
                <a:gd name="connsiteY12" fmla="*/ 1498244 h 3184540"/>
                <a:gd name="connsiteX0" fmla="*/ 0 w 8241475"/>
                <a:gd name="connsiteY0" fmla="*/ 1498244 h 3184540"/>
                <a:gd name="connsiteX1" fmla="*/ 1520041 w 8241475"/>
                <a:gd name="connsiteY1" fmla="*/ 761974 h 3184540"/>
                <a:gd name="connsiteX2" fmla="*/ 2695699 w 8241475"/>
                <a:gd name="connsiteY2" fmla="*/ 1094484 h 3184540"/>
                <a:gd name="connsiteX3" fmla="*/ 3966358 w 8241475"/>
                <a:gd name="connsiteY3" fmla="*/ 13829 h 3184540"/>
                <a:gd name="connsiteX4" fmla="*/ 5569527 w 8241475"/>
                <a:gd name="connsiteY4" fmla="*/ 940104 h 3184540"/>
                <a:gd name="connsiteX5" fmla="*/ 6852062 w 8241475"/>
                <a:gd name="connsiteY5" fmla="*/ 263211 h 3184540"/>
                <a:gd name="connsiteX6" fmla="*/ 8241475 w 8241475"/>
                <a:gd name="connsiteY6" fmla="*/ 1415117 h 3184540"/>
                <a:gd name="connsiteX7" fmla="*/ 8241475 w 8241475"/>
                <a:gd name="connsiteY7" fmla="*/ 2068259 h 3184540"/>
                <a:gd name="connsiteX8" fmla="*/ 5403272 w 8241475"/>
                <a:gd name="connsiteY8" fmla="*/ 2816404 h 3184540"/>
                <a:gd name="connsiteX9" fmla="*/ 3942607 w 8241475"/>
                <a:gd name="connsiteY9" fmla="*/ 3184540 h 3184540"/>
                <a:gd name="connsiteX10" fmla="*/ 2719449 w 8241475"/>
                <a:gd name="connsiteY10" fmla="*/ 2139511 h 3184540"/>
                <a:gd name="connsiteX11" fmla="*/ 1413166 w 8241475"/>
                <a:gd name="connsiteY11" fmla="*/ 2388895 h 3184540"/>
                <a:gd name="connsiteX12" fmla="*/ 11876 w 8241475"/>
                <a:gd name="connsiteY12" fmla="*/ 1676373 h 3184540"/>
                <a:gd name="connsiteX13" fmla="*/ 0 w 8241475"/>
                <a:gd name="connsiteY13" fmla="*/ 1498244 h 3184540"/>
                <a:gd name="connsiteX0" fmla="*/ 0 w 8241475"/>
                <a:gd name="connsiteY0" fmla="*/ 1498244 h 3184540"/>
                <a:gd name="connsiteX1" fmla="*/ 1520041 w 8241475"/>
                <a:gd name="connsiteY1" fmla="*/ 761974 h 3184540"/>
                <a:gd name="connsiteX2" fmla="*/ 2695699 w 8241475"/>
                <a:gd name="connsiteY2" fmla="*/ 1094484 h 3184540"/>
                <a:gd name="connsiteX3" fmla="*/ 3966358 w 8241475"/>
                <a:gd name="connsiteY3" fmla="*/ 13829 h 3184540"/>
                <a:gd name="connsiteX4" fmla="*/ 5569527 w 8241475"/>
                <a:gd name="connsiteY4" fmla="*/ 940104 h 3184540"/>
                <a:gd name="connsiteX5" fmla="*/ 6852062 w 8241475"/>
                <a:gd name="connsiteY5" fmla="*/ 263211 h 3184540"/>
                <a:gd name="connsiteX6" fmla="*/ 8241475 w 8241475"/>
                <a:gd name="connsiteY6" fmla="*/ 1415117 h 3184540"/>
                <a:gd name="connsiteX7" fmla="*/ 8241475 w 8241475"/>
                <a:gd name="connsiteY7" fmla="*/ 2068259 h 3184540"/>
                <a:gd name="connsiteX8" fmla="*/ 5522025 w 8241475"/>
                <a:gd name="connsiteY8" fmla="*/ 2329516 h 3184540"/>
                <a:gd name="connsiteX9" fmla="*/ 3942607 w 8241475"/>
                <a:gd name="connsiteY9" fmla="*/ 3184540 h 3184540"/>
                <a:gd name="connsiteX10" fmla="*/ 2719449 w 8241475"/>
                <a:gd name="connsiteY10" fmla="*/ 2139511 h 3184540"/>
                <a:gd name="connsiteX11" fmla="*/ 1413166 w 8241475"/>
                <a:gd name="connsiteY11" fmla="*/ 2388895 h 3184540"/>
                <a:gd name="connsiteX12" fmla="*/ 11876 w 8241475"/>
                <a:gd name="connsiteY12" fmla="*/ 1676373 h 3184540"/>
                <a:gd name="connsiteX13" fmla="*/ 0 w 8241475"/>
                <a:gd name="connsiteY13" fmla="*/ 1498244 h 3184540"/>
                <a:gd name="connsiteX0" fmla="*/ 0 w 8241475"/>
                <a:gd name="connsiteY0" fmla="*/ 1498244 h 3211623"/>
                <a:gd name="connsiteX1" fmla="*/ 1520041 w 8241475"/>
                <a:gd name="connsiteY1" fmla="*/ 761974 h 3211623"/>
                <a:gd name="connsiteX2" fmla="*/ 2695699 w 8241475"/>
                <a:gd name="connsiteY2" fmla="*/ 1094484 h 3211623"/>
                <a:gd name="connsiteX3" fmla="*/ 3966358 w 8241475"/>
                <a:gd name="connsiteY3" fmla="*/ 13829 h 3211623"/>
                <a:gd name="connsiteX4" fmla="*/ 5569527 w 8241475"/>
                <a:gd name="connsiteY4" fmla="*/ 940104 h 3211623"/>
                <a:gd name="connsiteX5" fmla="*/ 6852062 w 8241475"/>
                <a:gd name="connsiteY5" fmla="*/ 263211 h 3211623"/>
                <a:gd name="connsiteX6" fmla="*/ 8241475 w 8241475"/>
                <a:gd name="connsiteY6" fmla="*/ 1415117 h 3211623"/>
                <a:gd name="connsiteX7" fmla="*/ 8241475 w 8241475"/>
                <a:gd name="connsiteY7" fmla="*/ 2068259 h 3211623"/>
                <a:gd name="connsiteX8" fmla="*/ 5522025 w 8241475"/>
                <a:gd name="connsiteY8" fmla="*/ 2329516 h 3211623"/>
                <a:gd name="connsiteX9" fmla="*/ 3942607 w 8241475"/>
                <a:gd name="connsiteY9" fmla="*/ 3184540 h 3211623"/>
                <a:gd name="connsiteX10" fmla="*/ 2719449 w 8241475"/>
                <a:gd name="connsiteY10" fmla="*/ 2139511 h 3211623"/>
                <a:gd name="connsiteX11" fmla="*/ 1413166 w 8241475"/>
                <a:gd name="connsiteY11" fmla="*/ 2388895 h 3211623"/>
                <a:gd name="connsiteX12" fmla="*/ 11876 w 8241475"/>
                <a:gd name="connsiteY12" fmla="*/ 1676373 h 3211623"/>
                <a:gd name="connsiteX13" fmla="*/ 0 w 8241475"/>
                <a:gd name="connsiteY13" fmla="*/ 1498244 h 3211623"/>
                <a:gd name="connsiteX0" fmla="*/ 0 w 8241475"/>
                <a:gd name="connsiteY0" fmla="*/ 1498244 h 3207727"/>
                <a:gd name="connsiteX1" fmla="*/ 1520041 w 8241475"/>
                <a:gd name="connsiteY1" fmla="*/ 761974 h 3207727"/>
                <a:gd name="connsiteX2" fmla="*/ 2695699 w 8241475"/>
                <a:gd name="connsiteY2" fmla="*/ 1094484 h 3207727"/>
                <a:gd name="connsiteX3" fmla="*/ 3966358 w 8241475"/>
                <a:gd name="connsiteY3" fmla="*/ 13829 h 3207727"/>
                <a:gd name="connsiteX4" fmla="*/ 5569527 w 8241475"/>
                <a:gd name="connsiteY4" fmla="*/ 940104 h 3207727"/>
                <a:gd name="connsiteX5" fmla="*/ 6852062 w 8241475"/>
                <a:gd name="connsiteY5" fmla="*/ 263211 h 3207727"/>
                <a:gd name="connsiteX6" fmla="*/ 8241475 w 8241475"/>
                <a:gd name="connsiteY6" fmla="*/ 1415117 h 3207727"/>
                <a:gd name="connsiteX7" fmla="*/ 8241475 w 8241475"/>
                <a:gd name="connsiteY7" fmla="*/ 2068259 h 3207727"/>
                <a:gd name="connsiteX8" fmla="*/ 5522025 w 8241475"/>
                <a:gd name="connsiteY8" fmla="*/ 2329516 h 3207727"/>
                <a:gd name="connsiteX9" fmla="*/ 3942607 w 8241475"/>
                <a:gd name="connsiteY9" fmla="*/ 3184540 h 3207727"/>
                <a:gd name="connsiteX10" fmla="*/ 2719449 w 8241475"/>
                <a:gd name="connsiteY10" fmla="*/ 2139511 h 3207727"/>
                <a:gd name="connsiteX11" fmla="*/ 1413166 w 8241475"/>
                <a:gd name="connsiteY11" fmla="*/ 2388895 h 3207727"/>
                <a:gd name="connsiteX12" fmla="*/ 11876 w 8241475"/>
                <a:gd name="connsiteY12" fmla="*/ 1676373 h 3207727"/>
                <a:gd name="connsiteX13" fmla="*/ 0 w 8241475"/>
                <a:gd name="connsiteY13" fmla="*/ 1498244 h 3207727"/>
                <a:gd name="connsiteX0" fmla="*/ 0 w 8241475"/>
                <a:gd name="connsiteY0" fmla="*/ 1498244 h 3207727"/>
                <a:gd name="connsiteX1" fmla="*/ 1520041 w 8241475"/>
                <a:gd name="connsiteY1" fmla="*/ 761974 h 3207727"/>
                <a:gd name="connsiteX2" fmla="*/ 2695699 w 8241475"/>
                <a:gd name="connsiteY2" fmla="*/ 1094484 h 3207727"/>
                <a:gd name="connsiteX3" fmla="*/ 3966358 w 8241475"/>
                <a:gd name="connsiteY3" fmla="*/ 13829 h 3207727"/>
                <a:gd name="connsiteX4" fmla="*/ 5569527 w 8241475"/>
                <a:gd name="connsiteY4" fmla="*/ 940104 h 3207727"/>
                <a:gd name="connsiteX5" fmla="*/ 6852062 w 8241475"/>
                <a:gd name="connsiteY5" fmla="*/ 263211 h 3207727"/>
                <a:gd name="connsiteX6" fmla="*/ 8241475 w 8241475"/>
                <a:gd name="connsiteY6" fmla="*/ 1415117 h 3207727"/>
                <a:gd name="connsiteX7" fmla="*/ 8241475 w 8241475"/>
                <a:gd name="connsiteY7" fmla="*/ 2068259 h 3207727"/>
                <a:gd name="connsiteX8" fmla="*/ 6673932 w 8241475"/>
                <a:gd name="connsiteY8" fmla="*/ 2222638 h 3207727"/>
                <a:gd name="connsiteX9" fmla="*/ 5522025 w 8241475"/>
                <a:gd name="connsiteY9" fmla="*/ 2329516 h 3207727"/>
                <a:gd name="connsiteX10" fmla="*/ 3942607 w 8241475"/>
                <a:gd name="connsiteY10" fmla="*/ 3184540 h 3207727"/>
                <a:gd name="connsiteX11" fmla="*/ 2719449 w 8241475"/>
                <a:gd name="connsiteY11" fmla="*/ 2139511 h 3207727"/>
                <a:gd name="connsiteX12" fmla="*/ 1413166 w 8241475"/>
                <a:gd name="connsiteY12" fmla="*/ 2388895 h 3207727"/>
                <a:gd name="connsiteX13" fmla="*/ 11876 w 8241475"/>
                <a:gd name="connsiteY13" fmla="*/ 1676373 h 3207727"/>
                <a:gd name="connsiteX14" fmla="*/ 0 w 8241475"/>
                <a:gd name="connsiteY14" fmla="*/ 1498244 h 3207727"/>
                <a:gd name="connsiteX0" fmla="*/ 0 w 8241475"/>
                <a:gd name="connsiteY0" fmla="*/ 1498244 h 3207727"/>
                <a:gd name="connsiteX1" fmla="*/ 1520041 w 8241475"/>
                <a:gd name="connsiteY1" fmla="*/ 761974 h 3207727"/>
                <a:gd name="connsiteX2" fmla="*/ 2695699 w 8241475"/>
                <a:gd name="connsiteY2" fmla="*/ 1094484 h 3207727"/>
                <a:gd name="connsiteX3" fmla="*/ 3966358 w 8241475"/>
                <a:gd name="connsiteY3" fmla="*/ 13829 h 3207727"/>
                <a:gd name="connsiteX4" fmla="*/ 5569527 w 8241475"/>
                <a:gd name="connsiteY4" fmla="*/ 940104 h 3207727"/>
                <a:gd name="connsiteX5" fmla="*/ 6852062 w 8241475"/>
                <a:gd name="connsiteY5" fmla="*/ 263211 h 3207727"/>
                <a:gd name="connsiteX6" fmla="*/ 8241475 w 8241475"/>
                <a:gd name="connsiteY6" fmla="*/ 1415117 h 3207727"/>
                <a:gd name="connsiteX7" fmla="*/ 8241475 w 8241475"/>
                <a:gd name="connsiteY7" fmla="*/ 2068259 h 3207727"/>
                <a:gd name="connsiteX8" fmla="*/ 6887688 w 8241475"/>
                <a:gd name="connsiteY8" fmla="*/ 2958908 h 3207727"/>
                <a:gd name="connsiteX9" fmla="*/ 5522025 w 8241475"/>
                <a:gd name="connsiteY9" fmla="*/ 2329516 h 3207727"/>
                <a:gd name="connsiteX10" fmla="*/ 3942607 w 8241475"/>
                <a:gd name="connsiteY10" fmla="*/ 3184540 h 3207727"/>
                <a:gd name="connsiteX11" fmla="*/ 2719449 w 8241475"/>
                <a:gd name="connsiteY11" fmla="*/ 2139511 h 3207727"/>
                <a:gd name="connsiteX12" fmla="*/ 1413166 w 8241475"/>
                <a:gd name="connsiteY12" fmla="*/ 2388895 h 3207727"/>
                <a:gd name="connsiteX13" fmla="*/ 11876 w 8241475"/>
                <a:gd name="connsiteY13" fmla="*/ 1676373 h 3207727"/>
                <a:gd name="connsiteX14" fmla="*/ 0 w 8241475"/>
                <a:gd name="connsiteY14" fmla="*/ 1498244 h 3207727"/>
                <a:gd name="connsiteX0" fmla="*/ 0 w 8241475"/>
                <a:gd name="connsiteY0" fmla="*/ 1498244 h 3207727"/>
                <a:gd name="connsiteX1" fmla="*/ 1520041 w 8241475"/>
                <a:gd name="connsiteY1" fmla="*/ 761974 h 3207727"/>
                <a:gd name="connsiteX2" fmla="*/ 2695699 w 8241475"/>
                <a:gd name="connsiteY2" fmla="*/ 1094484 h 3207727"/>
                <a:gd name="connsiteX3" fmla="*/ 3966358 w 8241475"/>
                <a:gd name="connsiteY3" fmla="*/ 13829 h 3207727"/>
                <a:gd name="connsiteX4" fmla="*/ 5569527 w 8241475"/>
                <a:gd name="connsiteY4" fmla="*/ 940104 h 3207727"/>
                <a:gd name="connsiteX5" fmla="*/ 6852062 w 8241475"/>
                <a:gd name="connsiteY5" fmla="*/ 263211 h 3207727"/>
                <a:gd name="connsiteX6" fmla="*/ 8241475 w 8241475"/>
                <a:gd name="connsiteY6" fmla="*/ 1415117 h 3207727"/>
                <a:gd name="connsiteX7" fmla="*/ 8241475 w 8241475"/>
                <a:gd name="connsiteY7" fmla="*/ 2068259 h 3207727"/>
                <a:gd name="connsiteX8" fmla="*/ 6887688 w 8241475"/>
                <a:gd name="connsiteY8" fmla="*/ 2958908 h 3207727"/>
                <a:gd name="connsiteX9" fmla="*/ 5522025 w 8241475"/>
                <a:gd name="connsiteY9" fmla="*/ 2329516 h 3207727"/>
                <a:gd name="connsiteX10" fmla="*/ 3942607 w 8241475"/>
                <a:gd name="connsiteY10" fmla="*/ 3184540 h 3207727"/>
                <a:gd name="connsiteX11" fmla="*/ 2719449 w 8241475"/>
                <a:gd name="connsiteY11" fmla="*/ 2139511 h 3207727"/>
                <a:gd name="connsiteX12" fmla="*/ 1413166 w 8241475"/>
                <a:gd name="connsiteY12" fmla="*/ 2388895 h 3207727"/>
                <a:gd name="connsiteX13" fmla="*/ 11876 w 8241475"/>
                <a:gd name="connsiteY13" fmla="*/ 1676373 h 3207727"/>
                <a:gd name="connsiteX14" fmla="*/ 0 w 8241475"/>
                <a:gd name="connsiteY14" fmla="*/ 1498244 h 3207727"/>
                <a:gd name="connsiteX0" fmla="*/ 0 w 8241475"/>
                <a:gd name="connsiteY0" fmla="*/ 1498244 h 3207727"/>
                <a:gd name="connsiteX1" fmla="*/ 1520041 w 8241475"/>
                <a:gd name="connsiteY1" fmla="*/ 761974 h 3207727"/>
                <a:gd name="connsiteX2" fmla="*/ 2695699 w 8241475"/>
                <a:gd name="connsiteY2" fmla="*/ 1094484 h 3207727"/>
                <a:gd name="connsiteX3" fmla="*/ 3966358 w 8241475"/>
                <a:gd name="connsiteY3" fmla="*/ 13829 h 3207727"/>
                <a:gd name="connsiteX4" fmla="*/ 5569527 w 8241475"/>
                <a:gd name="connsiteY4" fmla="*/ 940104 h 3207727"/>
                <a:gd name="connsiteX5" fmla="*/ 6852062 w 8241475"/>
                <a:gd name="connsiteY5" fmla="*/ 263211 h 3207727"/>
                <a:gd name="connsiteX6" fmla="*/ 8241475 w 8241475"/>
                <a:gd name="connsiteY6" fmla="*/ 1415117 h 3207727"/>
                <a:gd name="connsiteX7" fmla="*/ 8241475 w 8241475"/>
                <a:gd name="connsiteY7" fmla="*/ 2068259 h 3207727"/>
                <a:gd name="connsiteX8" fmla="*/ 6887688 w 8241475"/>
                <a:gd name="connsiteY8" fmla="*/ 2958908 h 3207727"/>
                <a:gd name="connsiteX9" fmla="*/ 5522025 w 8241475"/>
                <a:gd name="connsiteY9" fmla="*/ 2329516 h 3207727"/>
                <a:gd name="connsiteX10" fmla="*/ 3942607 w 8241475"/>
                <a:gd name="connsiteY10" fmla="*/ 3184540 h 3207727"/>
                <a:gd name="connsiteX11" fmla="*/ 2719449 w 8241475"/>
                <a:gd name="connsiteY11" fmla="*/ 2139511 h 3207727"/>
                <a:gd name="connsiteX12" fmla="*/ 1413166 w 8241475"/>
                <a:gd name="connsiteY12" fmla="*/ 2388895 h 3207727"/>
                <a:gd name="connsiteX13" fmla="*/ 11876 w 8241475"/>
                <a:gd name="connsiteY13" fmla="*/ 1676373 h 3207727"/>
                <a:gd name="connsiteX14" fmla="*/ 0 w 8241475"/>
                <a:gd name="connsiteY14" fmla="*/ 1498244 h 3207727"/>
                <a:gd name="connsiteX0" fmla="*/ 0 w 8241475"/>
                <a:gd name="connsiteY0" fmla="*/ 1498244 h 3207727"/>
                <a:gd name="connsiteX1" fmla="*/ 1520041 w 8241475"/>
                <a:gd name="connsiteY1" fmla="*/ 761974 h 3207727"/>
                <a:gd name="connsiteX2" fmla="*/ 2695699 w 8241475"/>
                <a:gd name="connsiteY2" fmla="*/ 1094484 h 3207727"/>
                <a:gd name="connsiteX3" fmla="*/ 3966358 w 8241475"/>
                <a:gd name="connsiteY3" fmla="*/ 13829 h 3207727"/>
                <a:gd name="connsiteX4" fmla="*/ 5569527 w 8241475"/>
                <a:gd name="connsiteY4" fmla="*/ 940104 h 3207727"/>
                <a:gd name="connsiteX5" fmla="*/ 6852062 w 8241475"/>
                <a:gd name="connsiteY5" fmla="*/ 263211 h 3207727"/>
                <a:gd name="connsiteX6" fmla="*/ 8241475 w 8241475"/>
                <a:gd name="connsiteY6" fmla="*/ 1415117 h 3207727"/>
                <a:gd name="connsiteX7" fmla="*/ 8241475 w 8241475"/>
                <a:gd name="connsiteY7" fmla="*/ 2068259 h 3207727"/>
                <a:gd name="connsiteX8" fmla="*/ 6887688 w 8241475"/>
                <a:gd name="connsiteY8" fmla="*/ 2958908 h 3207727"/>
                <a:gd name="connsiteX9" fmla="*/ 5522025 w 8241475"/>
                <a:gd name="connsiteY9" fmla="*/ 2329516 h 3207727"/>
                <a:gd name="connsiteX10" fmla="*/ 3942607 w 8241475"/>
                <a:gd name="connsiteY10" fmla="*/ 3184540 h 3207727"/>
                <a:gd name="connsiteX11" fmla="*/ 2719449 w 8241475"/>
                <a:gd name="connsiteY11" fmla="*/ 2139511 h 3207727"/>
                <a:gd name="connsiteX12" fmla="*/ 1413166 w 8241475"/>
                <a:gd name="connsiteY12" fmla="*/ 2388895 h 3207727"/>
                <a:gd name="connsiteX13" fmla="*/ 11876 w 8241475"/>
                <a:gd name="connsiteY13" fmla="*/ 1676373 h 3207727"/>
                <a:gd name="connsiteX14" fmla="*/ 0 w 8241475"/>
                <a:gd name="connsiteY14" fmla="*/ 1498244 h 3207727"/>
                <a:gd name="connsiteX0" fmla="*/ 0 w 8241475"/>
                <a:gd name="connsiteY0" fmla="*/ 1498244 h 3207727"/>
                <a:gd name="connsiteX1" fmla="*/ 1520041 w 8241475"/>
                <a:gd name="connsiteY1" fmla="*/ 761974 h 3207727"/>
                <a:gd name="connsiteX2" fmla="*/ 2695699 w 8241475"/>
                <a:gd name="connsiteY2" fmla="*/ 1094484 h 3207727"/>
                <a:gd name="connsiteX3" fmla="*/ 3966358 w 8241475"/>
                <a:gd name="connsiteY3" fmla="*/ 13829 h 3207727"/>
                <a:gd name="connsiteX4" fmla="*/ 5569527 w 8241475"/>
                <a:gd name="connsiteY4" fmla="*/ 940104 h 3207727"/>
                <a:gd name="connsiteX5" fmla="*/ 6852062 w 8241475"/>
                <a:gd name="connsiteY5" fmla="*/ 263211 h 3207727"/>
                <a:gd name="connsiteX6" fmla="*/ 8241475 w 8241475"/>
                <a:gd name="connsiteY6" fmla="*/ 1415117 h 3207727"/>
                <a:gd name="connsiteX7" fmla="*/ 8241475 w 8241475"/>
                <a:gd name="connsiteY7" fmla="*/ 2068259 h 3207727"/>
                <a:gd name="connsiteX8" fmla="*/ 6887688 w 8241475"/>
                <a:gd name="connsiteY8" fmla="*/ 2958908 h 3207727"/>
                <a:gd name="connsiteX9" fmla="*/ 5522025 w 8241475"/>
                <a:gd name="connsiteY9" fmla="*/ 2329516 h 3207727"/>
                <a:gd name="connsiteX10" fmla="*/ 3942607 w 8241475"/>
                <a:gd name="connsiteY10" fmla="*/ 3184540 h 3207727"/>
                <a:gd name="connsiteX11" fmla="*/ 2719449 w 8241475"/>
                <a:gd name="connsiteY11" fmla="*/ 2139511 h 3207727"/>
                <a:gd name="connsiteX12" fmla="*/ 1413166 w 8241475"/>
                <a:gd name="connsiteY12" fmla="*/ 2388895 h 3207727"/>
                <a:gd name="connsiteX13" fmla="*/ 11876 w 8241475"/>
                <a:gd name="connsiteY13" fmla="*/ 1676373 h 3207727"/>
                <a:gd name="connsiteX14" fmla="*/ 0 w 8241475"/>
                <a:gd name="connsiteY14" fmla="*/ 1498244 h 3207727"/>
                <a:gd name="connsiteX0" fmla="*/ 0 w 8241475"/>
                <a:gd name="connsiteY0" fmla="*/ 1498244 h 3207727"/>
                <a:gd name="connsiteX1" fmla="*/ 1520041 w 8241475"/>
                <a:gd name="connsiteY1" fmla="*/ 761974 h 3207727"/>
                <a:gd name="connsiteX2" fmla="*/ 2695699 w 8241475"/>
                <a:gd name="connsiteY2" fmla="*/ 1094484 h 3207727"/>
                <a:gd name="connsiteX3" fmla="*/ 3966358 w 8241475"/>
                <a:gd name="connsiteY3" fmla="*/ 13829 h 3207727"/>
                <a:gd name="connsiteX4" fmla="*/ 5569527 w 8241475"/>
                <a:gd name="connsiteY4" fmla="*/ 940104 h 3207727"/>
                <a:gd name="connsiteX5" fmla="*/ 6852062 w 8241475"/>
                <a:gd name="connsiteY5" fmla="*/ 263211 h 3207727"/>
                <a:gd name="connsiteX6" fmla="*/ 8241475 w 8241475"/>
                <a:gd name="connsiteY6" fmla="*/ 1415117 h 3207727"/>
                <a:gd name="connsiteX7" fmla="*/ 8241475 w 8241475"/>
                <a:gd name="connsiteY7" fmla="*/ 2068259 h 3207727"/>
                <a:gd name="connsiteX8" fmla="*/ 6887688 w 8241475"/>
                <a:gd name="connsiteY8" fmla="*/ 2958908 h 3207727"/>
                <a:gd name="connsiteX9" fmla="*/ 5522025 w 8241475"/>
                <a:gd name="connsiteY9" fmla="*/ 2329516 h 3207727"/>
                <a:gd name="connsiteX10" fmla="*/ 3942607 w 8241475"/>
                <a:gd name="connsiteY10" fmla="*/ 3184540 h 3207727"/>
                <a:gd name="connsiteX11" fmla="*/ 2719449 w 8241475"/>
                <a:gd name="connsiteY11" fmla="*/ 2139511 h 3207727"/>
                <a:gd name="connsiteX12" fmla="*/ 1413166 w 8241475"/>
                <a:gd name="connsiteY12" fmla="*/ 2388895 h 3207727"/>
                <a:gd name="connsiteX13" fmla="*/ 11876 w 8241475"/>
                <a:gd name="connsiteY13" fmla="*/ 1676373 h 3207727"/>
                <a:gd name="connsiteX14" fmla="*/ 0 w 8241475"/>
                <a:gd name="connsiteY14" fmla="*/ 1498244 h 3207727"/>
                <a:gd name="connsiteX0" fmla="*/ 0 w 8241475"/>
                <a:gd name="connsiteY0" fmla="*/ 1498244 h 3207727"/>
                <a:gd name="connsiteX1" fmla="*/ 1520041 w 8241475"/>
                <a:gd name="connsiteY1" fmla="*/ 761974 h 3207727"/>
                <a:gd name="connsiteX2" fmla="*/ 2695699 w 8241475"/>
                <a:gd name="connsiteY2" fmla="*/ 1094484 h 3207727"/>
                <a:gd name="connsiteX3" fmla="*/ 3966358 w 8241475"/>
                <a:gd name="connsiteY3" fmla="*/ 13829 h 3207727"/>
                <a:gd name="connsiteX4" fmla="*/ 5569527 w 8241475"/>
                <a:gd name="connsiteY4" fmla="*/ 940104 h 3207727"/>
                <a:gd name="connsiteX5" fmla="*/ 6852062 w 8241475"/>
                <a:gd name="connsiteY5" fmla="*/ 263211 h 3207727"/>
                <a:gd name="connsiteX6" fmla="*/ 8241475 w 8241475"/>
                <a:gd name="connsiteY6" fmla="*/ 1415117 h 3207727"/>
                <a:gd name="connsiteX7" fmla="*/ 8229600 w 8241475"/>
                <a:gd name="connsiteY7" fmla="*/ 1795126 h 3207727"/>
                <a:gd name="connsiteX8" fmla="*/ 6887688 w 8241475"/>
                <a:gd name="connsiteY8" fmla="*/ 2958908 h 3207727"/>
                <a:gd name="connsiteX9" fmla="*/ 5522025 w 8241475"/>
                <a:gd name="connsiteY9" fmla="*/ 2329516 h 3207727"/>
                <a:gd name="connsiteX10" fmla="*/ 3942607 w 8241475"/>
                <a:gd name="connsiteY10" fmla="*/ 3184540 h 3207727"/>
                <a:gd name="connsiteX11" fmla="*/ 2719449 w 8241475"/>
                <a:gd name="connsiteY11" fmla="*/ 2139511 h 3207727"/>
                <a:gd name="connsiteX12" fmla="*/ 1413166 w 8241475"/>
                <a:gd name="connsiteY12" fmla="*/ 2388895 h 3207727"/>
                <a:gd name="connsiteX13" fmla="*/ 11876 w 8241475"/>
                <a:gd name="connsiteY13" fmla="*/ 1676373 h 3207727"/>
                <a:gd name="connsiteX14" fmla="*/ 0 w 8241475"/>
                <a:gd name="connsiteY14" fmla="*/ 1498244 h 3207727"/>
                <a:gd name="connsiteX0" fmla="*/ 0 w 8241475"/>
                <a:gd name="connsiteY0" fmla="*/ 1498244 h 3207727"/>
                <a:gd name="connsiteX1" fmla="*/ 1520041 w 8241475"/>
                <a:gd name="connsiteY1" fmla="*/ 761974 h 3207727"/>
                <a:gd name="connsiteX2" fmla="*/ 2695699 w 8241475"/>
                <a:gd name="connsiteY2" fmla="*/ 1094484 h 3207727"/>
                <a:gd name="connsiteX3" fmla="*/ 3966358 w 8241475"/>
                <a:gd name="connsiteY3" fmla="*/ 13829 h 3207727"/>
                <a:gd name="connsiteX4" fmla="*/ 5569527 w 8241475"/>
                <a:gd name="connsiteY4" fmla="*/ 940104 h 3207727"/>
                <a:gd name="connsiteX5" fmla="*/ 6852062 w 8241475"/>
                <a:gd name="connsiteY5" fmla="*/ 263211 h 3207727"/>
                <a:gd name="connsiteX6" fmla="*/ 8241475 w 8241475"/>
                <a:gd name="connsiteY6" fmla="*/ 1415117 h 3207727"/>
                <a:gd name="connsiteX7" fmla="*/ 8229600 w 8241475"/>
                <a:gd name="connsiteY7" fmla="*/ 1795126 h 3207727"/>
                <a:gd name="connsiteX8" fmla="*/ 6887688 w 8241475"/>
                <a:gd name="connsiteY8" fmla="*/ 2958908 h 3207727"/>
                <a:gd name="connsiteX9" fmla="*/ 5522025 w 8241475"/>
                <a:gd name="connsiteY9" fmla="*/ 2329516 h 3207727"/>
                <a:gd name="connsiteX10" fmla="*/ 3942607 w 8241475"/>
                <a:gd name="connsiteY10" fmla="*/ 3184540 h 3207727"/>
                <a:gd name="connsiteX11" fmla="*/ 2719449 w 8241475"/>
                <a:gd name="connsiteY11" fmla="*/ 2139511 h 3207727"/>
                <a:gd name="connsiteX12" fmla="*/ 1413166 w 8241475"/>
                <a:gd name="connsiteY12" fmla="*/ 2388895 h 3207727"/>
                <a:gd name="connsiteX13" fmla="*/ 11876 w 8241475"/>
                <a:gd name="connsiteY13" fmla="*/ 1676373 h 3207727"/>
                <a:gd name="connsiteX14" fmla="*/ 0 w 8241475"/>
                <a:gd name="connsiteY14" fmla="*/ 1498244 h 3207727"/>
                <a:gd name="connsiteX0" fmla="*/ 0 w 8241475"/>
                <a:gd name="connsiteY0" fmla="*/ 1498244 h 3207727"/>
                <a:gd name="connsiteX1" fmla="*/ 1520041 w 8241475"/>
                <a:gd name="connsiteY1" fmla="*/ 761974 h 3207727"/>
                <a:gd name="connsiteX2" fmla="*/ 2695699 w 8241475"/>
                <a:gd name="connsiteY2" fmla="*/ 1094484 h 3207727"/>
                <a:gd name="connsiteX3" fmla="*/ 3966358 w 8241475"/>
                <a:gd name="connsiteY3" fmla="*/ 13829 h 3207727"/>
                <a:gd name="connsiteX4" fmla="*/ 5569527 w 8241475"/>
                <a:gd name="connsiteY4" fmla="*/ 940104 h 3207727"/>
                <a:gd name="connsiteX5" fmla="*/ 6852062 w 8241475"/>
                <a:gd name="connsiteY5" fmla="*/ 263211 h 3207727"/>
                <a:gd name="connsiteX6" fmla="*/ 8241475 w 8241475"/>
                <a:gd name="connsiteY6" fmla="*/ 1415117 h 3207727"/>
                <a:gd name="connsiteX7" fmla="*/ 8229600 w 8241475"/>
                <a:gd name="connsiteY7" fmla="*/ 1807001 h 3207727"/>
                <a:gd name="connsiteX8" fmla="*/ 6887688 w 8241475"/>
                <a:gd name="connsiteY8" fmla="*/ 2958908 h 3207727"/>
                <a:gd name="connsiteX9" fmla="*/ 5522025 w 8241475"/>
                <a:gd name="connsiteY9" fmla="*/ 2329516 h 3207727"/>
                <a:gd name="connsiteX10" fmla="*/ 3942607 w 8241475"/>
                <a:gd name="connsiteY10" fmla="*/ 3184540 h 3207727"/>
                <a:gd name="connsiteX11" fmla="*/ 2719449 w 8241475"/>
                <a:gd name="connsiteY11" fmla="*/ 2139511 h 3207727"/>
                <a:gd name="connsiteX12" fmla="*/ 1413166 w 8241475"/>
                <a:gd name="connsiteY12" fmla="*/ 2388895 h 3207727"/>
                <a:gd name="connsiteX13" fmla="*/ 11876 w 8241475"/>
                <a:gd name="connsiteY13" fmla="*/ 1676373 h 3207727"/>
                <a:gd name="connsiteX14" fmla="*/ 0 w 8241475"/>
                <a:gd name="connsiteY14" fmla="*/ 1498244 h 3207727"/>
                <a:gd name="connsiteX0" fmla="*/ 0 w 8241475"/>
                <a:gd name="connsiteY0" fmla="*/ 1498244 h 3207727"/>
                <a:gd name="connsiteX1" fmla="*/ 1520041 w 8241475"/>
                <a:gd name="connsiteY1" fmla="*/ 761974 h 3207727"/>
                <a:gd name="connsiteX2" fmla="*/ 2695699 w 8241475"/>
                <a:gd name="connsiteY2" fmla="*/ 1094484 h 3207727"/>
                <a:gd name="connsiteX3" fmla="*/ 3966358 w 8241475"/>
                <a:gd name="connsiteY3" fmla="*/ 13829 h 3207727"/>
                <a:gd name="connsiteX4" fmla="*/ 5569527 w 8241475"/>
                <a:gd name="connsiteY4" fmla="*/ 940104 h 3207727"/>
                <a:gd name="connsiteX5" fmla="*/ 6852062 w 8241475"/>
                <a:gd name="connsiteY5" fmla="*/ 263211 h 3207727"/>
                <a:gd name="connsiteX6" fmla="*/ 8241475 w 8241475"/>
                <a:gd name="connsiteY6" fmla="*/ 1415117 h 3207727"/>
                <a:gd name="connsiteX7" fmla="*/ 8229600 w 8241475"/>
                <a:gd name="connsiteY7" fmla="*/ 1807001 h 3207727"/>
                <a:gd name="connsiteX8" fmla="*/ 6887688 w 8241475"/>
                <a:gd name="connsiteY8" fmla="*/ 2958908 h 3207727"/>
                <a:gd name="connsiteX9" fmla="*/ 5522025 w 8241475"/>
                <a:gd name="connsiteY9" fmla="*/ 2329516 h 3207727"/>
                <a:gd name="connsiteX10" fmla="*/ 3942607 w 8241475"/>
                <a:gd name="connsiteY10" fmla="*/ 3184540 h 3207727"/>
                <a:gd name="connsiteX11" fmla="*/ 2719449 w 8241475"/>
                <a:gd name="connsiteY11" fmla="*/ 2139511 h 3207727"/>
                <a:gd name="connsiteX12" fmla="*/ 1413166 w 8241475"/>
                <a:gd name="connsiteY12" fmla="*/ 2388895 h 3207727"/>
                <a:gd name="connsiteX13" fmla="*/ 11876 w 8241475"/>
                <a:gd name="connsiteY13" fmla="*/ 1676373 h 3207727"/>
                <a:gd name="connsiteX14" fmla="*/ 0 w 8241475"/>
                <a:gd name="connsiteY14" fmla="*/ 1498244 h 3207727"/>
                <a:gd name="connsiteX0" fmla="*/ 0 w 8241475"/>
                <a:gd name="connsiteY0" fmla="*/ 1498244 h 3207727"/>
                <a:gd name="connsiteX1" fmla="*/ 1520041 w 8241475"/>
                <a:gd name="connsiteY1" fmla="*/ 761974 h 3207727"/>
                <a:gd name="connsiteX2" fmla="*/ 2695699 w 8241475"/>
                <a:gd name="connsiteY2" fmla="*/ 1094484 h 3207727"/>
                <a:gd name="connsiteX3" fmla="*/ 3966358 w 8241475"/>
                <a:gd name="connsiteY3" fmla="*/ 13829 h 3207727"/>
                <a:gd name="connsiteX4" fmla="*/ 5569527 w 8241475"/>
                <a:gd name="connsiteY4" fmla="*/ 940104 h 3207727"/>
                <a:gd name="connsiteX5" fmla="*/ 6852062 w 8241475"/>
                <a:gd name="connsiteY5" fmla="*/ 263211 h 3207727"/>
                <a:gd name="connsiteX6" fmla="*/ 8241475 w 8241475"/>
                <a:gd name="connsiteY6" fmla="*/ 1415117 h 3207727"/>
                <a:gd name="connsiteX7" fmla="*/ 8229600 w 8241475"/>
                <a:gd name="connsiteY7" fmla="*/ 1807001 h 3207727"/>
                <a:gd name="connsiteX8" fmla="*/ 6887688 w 8241475"/>
                <a:gd name="connsiteY8" fmla="*/ 2958908 h 3207727"/>
                <a:gd name="connsiteX9" fmla="*/ 5522025 w 8241475"/>
                <a:gd name="connsiteY9" fmla="*/ 2329516 h 3207727"/>
                <a:gd name="connsiteX10" fmla="*/ 3942607 w 8241475"/>
                <a:gd name="connsiteY10" fmla="*/ 3184540 h 3207727"/>
                <a:gd name="connsiteX11" fmla="*/ 2719449 w 8241475"/>
                <a:gd name="connsiteY11" fmla="*/ 2139511 h 3207727"/>
                <a:gd name="connsiteX12" fmla="*/ 1413166 w 8241475"/>
                <a:gd name="connsiteY12" fmla="*/ 2388895 h 3207727"/>
                <a:gd name="connsiteX13" fmla="*/ 11876 w 8241475"/>
                <a:gd name="connsiteY13" fmla="*/ 1676373 h 3207727"/>
                <a:gd name="connsiteX14" fmla="*/ 0 w 8241475"/>
                <a:gd name="connsiteY14" fmla="*/ 1498244 h 3207727"/>
                <a:gd name="connsiteX0" fmla="*/ 0 w 8241475"/>
                <a:gd name="connsiteY0" fmla="*/ 1498244 h 3207727"/>
                <a:gd name="connsiteX1" fmla="*/ 1520041 w 8241475"/>
                <a:gd name="connsiteY1" fmla="*/ 761974 h 3207727"/>
                <a:gd name="connsiteX2" fmla="*/ 2695699 w 8241475"/>
                <a:gd name="connsiteY2" fmla="*/ 1094484 h 3207727"/>
                <a:gd name="connsiteX3" fmla="*/ 3966358 w 8241475"/>
                <a:gd name="connsiteY3" fmla="*/ 13829 h 3207727"/>
                <a:gd name="connsiteX4" fmla="*/ 5569527 w 8241475"/>
                <a:gd name="connsiteY4" fmla="*/ 940104 h 3207727"/>
                <a:gd name="connsiteX5" fmla="*/ 6852062 w 8241475"/>
                <a:gd name="connsiteY5" fmla="*/ 263211 h 3207727"/>
                <a:gd name="connsiteX6" fmla="*/ 8241475 w 8241475"/>
                <a:gd name="connsiteY6" fmla="*/ 1415117 h 3207727"/>
                <a:gd name="connsiteX7" fmla="*/ 8229600 w 8241475"/>
                <a:gd name="connsiteY7" fmla="*/ 1807001 h 3207727"/>
                <a:gd name="connsiteX8" fmla="*/ 6887688 w 8241475"/>
                <a:gd name="connsiteY8" fmla="*/ 2958908 h 3207727"/>
                <a:gd name="connsiteX9" fmla="*/ 5522025 w 8241475"/>
                <a:gd name="connsiteY9" fmla="*/ 2329516 h 3207727"/>
                <a:gd name="connsiteX10" fmla="*/ 3942607 w 8241475"/>
                <a:gd name="connsiteY10" fmla="*/ 3184540 h 3207727"/>
                <a:gd name="connsiteX11" fmla="*/ 2719449 w 8241475"/>
                <a:gd name="connsiteY11" fmla="*/ 2139511 h 3207727"/>
                <a:gd name="connsiteX12" fmla="*/ 1413166 w 8241475"/>
                <a:gd name="connsiteY12" fmla="*/ 2388895 h 3207727"/>
                <a:gd name="connsiteX13" fmla="*/ 11876 w 8241475"/>
                <a:gd name="connsiteY13" fmla="*/ 1676373 h 3207727"/>
                <a:gd name="connsiteX14" fmla="*/ 0 w 8241475"/>
                <a:gd name="connsiteY14" fmla="*/ 1498244 h 3207727"/>
                <a:gd name="connsiteX0" fmla="*/ 15949 w 8257424"/>
                <a:gd name="connsiteY0" fmla="*/ 1498244 h 3207727"/>
                <a:gd name="connsiteX1" fmla="*/ 1535990 w 8257424"/>
                <a:gd name="connsiteY1" fmla="*/ 761974 h 3207727"/>
                <a:gd name="connsiteX2" fmla="*/ 2711648 w 8257424"/>
                <a:gd name="connsiteY2" fmla="*/ 1094484 h 3207727"/>
                <a:gd name="connsiteX3" fmla="*/ 3982307 w 8257424"/>
                <a:gd name="connsiteY3" fmla="*/ 13829 h 3207727"/>
                <a:gd name="connsiteX4" fmla="*/ 5585476 w 8257424"/>
                <a:gd name="connsiteY4" fmla="*/ 940104 h 3207727"/>
                <a:gd name="connsiteX5" fmla="*/ 6868011 w 8257424"/>
                <a:gd name="connsiteY5" fmla="*/ 263211 h 3207727"/>
                <a:gd name="connsiteX6" fmla="*/ 8257424 w 8257424"/>
                <a:gd name="connsiteY6" fmla="*/ 1415117 h 3207727"/>
                <a:gd name="connsiteX7" fmla="*/ 8245549 w 8257424"/>
                <a:gd name="connsiteY7" fmla="*/ 1807001 h 3207727"/>
                <a:gd name="connsiteX8" fmla="*/ 6903637 w 8257424"/>
                <a:gd name="connsiteY8" fmla="*/ 2958908 h 3207727"/>
                <a:gd name="connsiteX9" fmla="*/ 5537974 w 8257424"/>
                <a:gd name="connsiteY9" fmla="*/ 2329516 h 3207727"/>
                <a:gd name="connsiteX10" fmla="*/ 3958556 w 8257424"/>
                <a:gd name="connsiteY10" fmla="*/ 3184540 h 3207727"/>
                <a:gd name="connsiteX11" fmla="*/ 2735398 w 8257424"/>
                <a:gd name="connsiteY11" fmla="*/ 2139511 h 3207727"/>
                <a:gd name="connsiteX12" fmla="*/ 1429115 w 8257424"/>
                <a:gd name="connsiteY12" fmla="*/ 2388895 h 3207727"/>
                <a:gd name="connsiteX13" fmla="*/ 27825 w 8257424"/>
                <a:gd name="connsiteY13" fmla="*/ 1676373 h 3207727"/>
                <a:gd name="connsiteX14" fmla="*/ 15949 w 8257424"/>
                <a:gd name="connsiteY14" fmla="*/ 1498244 h 3207727"/>
                <a:gd name="connsiteX0" fmla="*/ 27304 w 8268779"/>
                <a:gd name="connsiteY0" fmla="*/ 1498244 h 3207727"/>
                <a:gd name="connsiteX1" fmla="*/ 1547345 w 8268779"/>
                <a:gd name="connsiteY1" fmla="*/ 761974 h 3207727"/>
                <a:gd name="connsiteX2" fmla="*/ 2723003 w 8268779"/>
                <a:gd name="connsiteY2" fmla="*/ 1094484 h 3207727"/>
                <a:gd name="connsiteX3" fmla="*/ 3993662 w 8268779"/>
                <a:gd name="connsiteY3" fmla="*/ 13829 h 3207727"/>
                <a:gd name="connsiteX4" fmla="*/ 5596831 w 8268779"/>
                <a:gd name="connsiteY4" fmla="*/ 940104 h 3207727"/>
                <a:gd name="connsiteX5" fmla="*/ 6879366 w 8268779"/>
                <a:gd name="connsiteY5" fmla="*/ 263211 h 3207727"/>
                <a:gd name="connsiteX6" fmla="*/ 8268779 w 8268779"/>
                <a:gd name="connsiteY6" fmla="*/ 1415117 h 3207727"/>
                <a:gd name="connsiteX7" fmla="*/ 8256904 w 8268779"/>
                <a:gd name="connsiteY7" fmla="*/ 1807001 h 3207727"/>
                <a:gd name="connsiteX8" fmla="*/ 6914992 w 8268779"/>
                <a:gd name="connsiteY8" fmla="*/ 2958908 h 3207727"/>
                <a:gd name="connsiteX9" fmla="*/ 5549329 w 8268779"/>
                <a:gd name="connsiteY9" fmla="*/ 2329516 h 3207727"/>
                <a:gd name="connsiteX10" fmla="*/ 3969911 w 8268779"/>
                <a:gd name="connsiteY10" fmla="*/ 3184540 h 3207727"/>
                <a:gd name="connsiteX11" fmla="*/ 2746753 w 8268779"/>
                <a:gd name="connsiteY11" fmla="*/ 2139511 h 3207727"/>
                <a:gd name="connsiteX12" fmla="*/ 1440470 w 8268779"/>
                <a:gd name="connsiteY12" fmla="*/ 2388895 h 3207727"/>
                <a:gd name="connsiteX13" fmla="*/ 39180 w 8268779"/>
                <a:gd name="connsiteY13" fmla="*/ 1676373 h 3207727"/>
                <a:gd name="connsiteX14" fmla="*/ 27304 w 8268779"/>
                <a:gd name="connsiteY14" fmla="*/ 1498244 h 3207727"/>
                <a:gd name="connsiteX0" fmla="*/ 27304 w 8268779"/>
                <a:gd name="connsiteY0" fmla="*/ 1498244 h 3207727"/>
                <a:gd name="connsiteX1" fmla="*/ 1547345 w 8268779"/>
                <a:gd name="connsiteY1" fmla="*/ 761974 h 3207727"/>
                <a:gd name="connsiteX2" fmla="*/ 2723003 w 8268779"/>
                <a:gd name="connsiteY2" fmla="*/ 1094484 h 3207727"/>
                <a:gd name="connsiteX3" fmla="*/ 3993662 w 8268779"/>
                <a:gd name="connsiteY3" fmla="*/ 13829 h 3207727"/>
                <a:gd name="connsiteX4" fmla="*/ 5596831 w 8268779"/>
                <a:gd name="connsiteY4" fmla="*/ 940104 h 3207727"/>
                <a:gd name="connsiteX5" fmla="*/ 6879366 w 8268779"/>
                <a:gd name="connsiteY5" fmla="*/ 263211 h 3207727"/>
                <a:gd name="connsiteX6" fmla="*/ 8268779 w 8268779"/>
                <a:gd name="connsiteY6" fmla="*/ 1415117 h 3207727"/>
                <a:gd name="connsiteX7" fmla="*/ 8256904 w 8268779"/>
                <a:gd name="connsiteY7" fmla="*/ 1807001 h 3207727"/>
                <a:gd name="connsiteX8" fmla="*/ 6914992 w 8268779"/>
                <a:gd name="connsiteY8" fmla="*/ 2958908 h 3207727"/>
                <a:gd name="connsiteX9" fmla="*/ 5549329 w 8268779"/>
                <a:gd name="connsiteY9" fmla="*/ 2329516 h 3207727"/>
                <a:gd name="connsiteX10" fmla="*/ 3969911 w 8268779"/>
                <a:gd name="connsiteY10" fmla="*/ 3184540 h 3207727"/>
                <a:gd name="connsiteX11" fmla="*/ 2746753 w 8268779"/>
                <a:gd name="connsiteY11" fmla="*/ 2139511 h 3207727"/>
                <a:gd name="connsiteX12" fmla="*/ 1440470 w 8268779"/>
                <a:gd name="connsiteY12" fmla="*/ 2388895 h 3207727"/>
                <a:gd name="connsiteX13" fmla="*/ 39180 w 8268779"/>
                <a:gd name="connsiteY13" fmla="*/ 1676373 h 3207727"/>
                <a:gd name="connsiteX14" fmla="*/ 27304 w 8268779"/>
                <a:gd name="connsiteY14" fmla="*/ 1498244 h 3207727"/>
                <a:gd name="connsiteX0" fmla="*/ 32494 w 8273969"/>
                <a:gd name="connsiteY0" fmla="*/ 1498244 h 3207727"/>
                <a:gd name="connsiteX1" fmla="*/ 1552535 w 8273969"/>
                <a:gd name="connsiteY1" fmla="*/ 761974 h 3207727"/>
                <a:gd name="connsiteX2" fmla="*/ 2728193 w 8273969"/>
                <a:gd name="connsiteY2" fmla="*/ 1094484 h 3207727"/>
                <a:gd name="connsiteX3" fmla="*/ 3998852 w 8273969"/>
                <a:gd name="connsiteY3" fmla="*/ 13829 h 3207727"/>
                <a:gd name="connsiteX4" fmla="*/ 5602021 w 8273969"/>
                <a:gd name="connsiteY4" fmla="*/ 940104 h 3207727"/>
                <a:gd name="connsiteX5" fmla="*/ 6884556 w 8273969"/>
                <a:gd name="connsiteY5" fmla="*/ 263211 h 3207727"/>
                <a:gd name="connsiteX6" fmla="*/ 8273969 w 8273969"/>
                <a:gd name="connsiteY6" fmla="*/ 1415117 h 3207727"/>
                <a:gd name="connsiteX7" fmla="*/ 8262094 w 8273969"/>
                <a:gd name="connsiteY7" fmla="*/ 1807001 h 3207727"/>
                <a:gd name="connsiteX8" fmla="*/ 6920182 w 8273969"/>
                <a:gd name="connsiteY8" fmla="*/ 2958908 h 3207727"/>
                <a:gd name="connsiteX9" fmla="*/ 5554519 w 8273969"/>
                <a:gd name="connsiteY9" fmla="*/ 2329516 h 3207727"/>
                <a:gd name="connsiteX10" fmla="*/ 3975101 w 8273969"/>
                <a:gd name="connsiteY10" fmla="*/ 3184540 h 3207727"/>
                <a:gd name="connsiteX11" fmla="*/ 2751943 w 8273969"/>
                <a:gd name="connsiteY11" fmla="*/ 2139511 h 3207727"/>
                <a:gd name="connsiteX12" fmla="*/ 1445660 w 8273969"/>
                <a:gd name="connsiteY12" fmla="*/ 2388895 h 3207727"/>
                <a:gd name="connsiteX13" fmla="*/ 44370 w 8273969"/>
                <a:gd name="connsiteY13" fmla="*/ 1676373 h 3207727"/>
                <a:gd name="connsiteX14" fmla="*/ 32494 w 8273969"/>
                <a:gd name="connsiteY14" fmla="*/ 1498244 h 3207727"/>
                <a:gd name="connsiteX0" fmla="*/ 32494 w 8273969"/>
                <a:gd name="connsiteY0" fmla="*/ 1498244 h 3207727"/>
                <a:gd name="connsiteX1" fmla="*/ 1552535 w 8273969"/>
                <a:gd name="connsiteY1" fmla="*/ 761974 h 3207727"/>
                <a:gd name="connsiteX2" fmla="*/ 2728193 w 8273969"/>
                <a:gd name="connsiteY2" fmla="*/ 1094484 h 3207727"/>
                <a:gd name="connsiteX3" fmla="*/ 3998852 w 8273969"/>
                <a:gd name="connsiteY3" fmla="*/ 13829 h 3207727"/>
                <a:gd name="connsiteX4" fmla="*/ 5602021 w 8273969"/>
                <a:gd name="connsiteY4" fmla="*/ 940104 h 3207727"/>
                <a:gd name="connsiteX5" fmla="*/ 6884556 w 8273969"/>
                <a:gd name="connsiteY5" fmla="*/ 263211 h 3207727"/>
                <a:gd name="connsiteX6" fmla="*/ 8273969 w 8273969"/>
                <a:gd name="connsiteY6" fmla="*/ 1415117 h 3207727"/>
                <a:gd name="connsiteX7" fmla="*/ 8262094 w 8273969"/>
                <a:gd name="connsiteY7" fmla="*/ 1807001 h 3207727"/>
                <a:gd name="connsiteX8" fmla="*/ 6920182 w 8273969"/>
                <a:gd name="connsiteY8" fmla="*/ 2958908 h 3207727"/>
                <a:gd name="connsiteX9" fmla="*/ 5554519 w 8273969"/>
                <a:gd name="connsiteY9" fmla="*/ 2329516 h 3207727"/>
                <a:gd name="connsiteX10" fmla="*/ 3975101 w 8273969"/>
                <a:gd name="connsiteY10" fmla="*/ 3184540 h 3207727"/>
                <a:gd name="connsiteX11" fmla="*/ 2751943 w 8273969"/>
                <a:gd name="connsiteY11" fmla="*/ 2139511 h 3207727"/>
                <a:gd name="connsiteX12" fmla="*/ 1445660 w 8273969"/>
                <a:gd name="connsiteY12" fmla="*/ 2388895 h 3207727"/>
                <a:gd name="connsiteX13" fmla="*/ 44370 w 8273969"/>
                <a:gd name="connsiteY13" fmla="*/ 1676373 h 3207727"/>
                <a:gd name="connsiteX14" fmla="*/ 32494 w 8273969"/>
                <a:gd name="connsiteY14" fmla="*/ 1498244 h 3207727"/>
                <a:gd name="connsiteX0" fmla="*/ 47644 w 8289119"/>
                <a:gd name="connsiteY0" fmla="*/ 1498244 h 3207727"/>
                <a:gd name="connsiteX1" fmla="*/ 1567685 w 8289119"/>
                <a:gd name="connsiteY1" fmla="*/ 761974 h 3207727"/>
                <a:gd name="connsiteX2" fmla="*/ 2743343 w 8289119"/>
                <a:gd name="connsiteY2" fmla="*/ 1094484 h 3207727"/>
                <a:gd name="connsiteX3" fmla="*/ 4014002 w 8289119"/>
                <a:gd name="connsiteY3" fmla="*/ 13829 h 3207727"/>
                <a:gd name="connsiteX4" fmla="*/ 5617171 w 8289119"/>
                <a:gd name="connsiteY4" fmla="*/ 940104 h 3207727"/>
                <a:gd name="connsiteX5" fmla="*/ 6899706 w 8289119"/>
                <a:gd name="connsiteY5" fmla="*/ 263211 h 3207727"/>
                <a:gd name="connsiteX6" fmla="*/ 8289119 w 8289119"/>
                <a:gd name="connsiteY6" fmla="*/ 1415117 h 3207727"/>
                <a:gd name="connsiteX7" fmla="*/ 8277244 w 8289119"/>
                <a:gd name="connsiteY7" fmla="*/ 1807001 h 3207727"/>
                <a:gd name="connsiteX8" fmla="*/ 6935332 w 8289119"/>
                <a:gd name="connsiteY8" fmla="*/ 2958908 h 3207727"/>
                <a:gd name="connsiteX9" fmla="*/ 5569669 w 8289119"/>
                <a:gd name="connsiteY9" fmla="*/ 2329516 h 3207727"/>
                <a:gd name="connsiteX10" fmla="*/ 3990251 w 8289119"/>
                <a:gd name="connsiteY10" fmla="*/ 3184540 h 3207727"/>
                <a:gd name="connsiteX11" fmla="*/ 2767093 w 8289119"/>
                <a:gd name="connsiteY11" fmla="*/ 2139511 h 3207727"/>
                <a:gd name="connsiteX12" fmla="*/ 1460810 w 8289119"/>
                <a:gd name="connsiteY12" fmla="*/ 2388895 h 3207727"/>
                <a:gd name="connsiteX13" fmla="*/ 59520 w 8289119"/>
                <a:gd name="connsiteY13" fmla="*/ 1676373 h 3207727"/>
                <a:gd name="connsiteX14" fmla="*/ 47644 w 8289119"/>
                <a:gd name="connsiteY14" fmla="*/ 1498244 h 3207727"/>
                <a:gd name="connsiteX0" fmla="*/ 47644 w 8289119"/>
                <a:gd name="connsiteY0" fmla="*/ 1498244 h 3207727"/>
                <a:gd name="connsiteX1" fmla="*/ 1567685 w 8289119"/>
                <a:gd name="connsiteY1" fmla="*/ 761974 h 3207727"/>
                <a:gd name="connsiteX2" fmla="*/ 2743343 w 8289119"/>
                <a:gd name="connsiteY2" fmla="*/ 1094484 h 3207727"/>
                <a:gd name="connsiteX3" fmla="*/ 4014002 w 8289119"/>
                <a:gd name="connsiteY3" fmla="*/ 13829 h 3207727"/>
                <a:gd name="connsiteX4" fmla="*/ 5617171 w 8289119"/>
                <a:gd name="connsiteY4" fmla="*/ 940104 h 3207727"/>
                <a:gd name="connsiteX5" fmla="*/ 6899706 w 8289119"/>
                <a:gd name="connsiteY5" fmla="*/ 263211 h 3207727"/>
                <a:gd name="connsiteX6" fmla="*/ 8289119 w 8289119"/>
                <a:gd name="connsiteY6" fmla="*/ 1415117 h 3207727"/>
                <a:gd name="connsiteX7" fmla="*/ 8277244 w 8289119"/>
                <a:gd name="connsiteY7" fmla="*/ 1807001 h 3207727"/>
                <a:gd name="connsiteX8" fmla="*/ 6935332 w 8289119"/>
                <a:gd name="connsiteY8" fmla="*/ 2958908 h 3207727"/>
                <a:gd name="connsiteX9" fmla="*/ 5569669 w 8289119"/>
                <a:gd name="connsiteY9" fmla="*/ 2329516 h 3207727"/>
                <a:gd name="connsiteX10" fmla="*/ 3990251 w 8289119"/>
                <a:gd name="connsiteY10" fmla="*/ 3184540 h 3207727"/>
                <a:gd name="connsiteX11" fmla="*/ 2767093 w 8289119"/>
                <a:gd name="connsiteY11" fmla="*/ 2139511 h 3207727"/>
                <a:gd name="connsiteX12" fmla="*/ 1460810 w 8289119"/>
                <a:gd name="connsiteY12" fmla="*/ 2388895 h 3207727"/>
                <a:gd name="connsiteX13" fmla="*/ 59520 w 8289119"/>
                <a:gd name="connsiteY13" fmla="*/ 1676373 h 3207727"/>
                <a:gd name="connsiteX14" fmla="*/ 47644 w 8289119"/>
                <a:gd name="connsiteY14" fmla="*/ 1498244 h 3207727"/>
                <a:gd name="connsiteX0" fmla="*/ 50723 w 8292198"/>
                <a:gd name="connsiteY0" fmla="*/ 1498244 h 3207727"/>
                <a:gd name="connsiteX1" fmla="*/ 1570764 w 8292198"/>
                <a:gd name="connsiteY1" fmla="*/ 761974 h 3207727"/>
                <a:gd name="connsiteX2" fmla="*/ 2746422 w 8292198"/>
                <a:gd name="connsiteY2" fmla="*/ 1094484 h 3207727"/>
                <a:gd name="connsiteX3" fmla="*/ 4017081 w 8292198"/>
                <a:gd name="connsiteY3" fmla="*/ 13829 h 3207727"/>
                <a:gd name="connsiteX4" fmla="*/ 5620250 w 8292198"/>
                <a:gd name="connsiteY4" fmla="*/ 940104 h 3207727"/>
                <a:gd name="connsiteX5" fmla="*/ 6902785 w 8292198"/>
                <a:gd name="connsiteY5" fmla="*/ 263211 h 3207727"/>
                <a:gd name="connsiteX6" fmla="*/ 8292198 w 8292198"/>
                <a:gd name="connsiteY6" fmla="*/ 1415117 h 3207727"/>
                <a:gd name="connsiteX7" fmla="*/ 8280323 w 8292198"/>
                <a:gd name="connsiteY7" fmla="*/ 1807001 h 3207727"/>
                <a:gd name="connsiteX8" fmla="*/ 6938411 w 8292198"/>
                <a:gd name="connsiteY8" fmla="*/ 2958908 h 3207727"/>
                <a:gd name="connsiteX9" fmla="*/ 5572748 w 8292198"/>
                <a:gd name="connsiteY9" fmla="*/ 2329516 h 3207727"/>
                <a:gd name="connsiteX10" fmla="*/ 3993330 w 8292198"/>
                <a:gd name="connsiteY10" fmla="*/ 3184540 h 3207727"/>
                <a:gd name="connsiteX11" fmla="*/ 2770172 w 8292198"/>
                <a:gd name="connsiteY11" fmla="*/ 2139511 h 3207727"/>
                <a:gd name="connsiteX12" fmla="*/ 1463889 w 8292198"/>
                <a:gd name="connsiteY12" fmla="*/ 2388895 h 3207727"/>
                <a:gd name="connsiteX13" fmla="*/ 62599 w 8292198"/>
                <a:gd name="connsiteY13" fmla="*/ 1676373 h 3207727"/>
                <a:gd name="connsiteX14" fmla="*/ 50723 w 8292198"/>
                <a:gd name="connsiteY14" fmla="*/ 1498244 h 3207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292198" h="3207727">
                  <a:moveTo>
                    <a:pt x="50723" y="1498244"/>
                  </a:moveTo>
                  <a:cubicBezTo>
                    <a:pt x="260390" y="1391627"/>
                    <a:pt x="642258" y="1756968"/>
                    <a:pt x="1570764" y="761974"/>
                  </a:cubicBezTo>
                  <a:cubicBezTo>
                    <a:pt x="2161479" y="128959"/>
                    <a:pt x="2310994" y="1056878"/>
                    <a:pt x="2746422" y="1094484"/>
                  </a:cubicBezTo>
                  <a:cubicBezTo>
                    <a:pt x="3152162" y="1141985"/>
                    <a:pt x="3508421" y="11850"/>
                    <a:pt x="4017081" y="13829"/>
                  </a:cubicBezTo>
                  <a:cubicBezTo>
                    <a:pt x="4515844" y="-122737"/>
                    <a:pt x="4907731" y="793642"/>
                    <a:pt x="5620250" y="940104"/>
                  </a:cubicBezTo>
                  <a:cubicBezTo>
                    <a:pt x="6085367" y="1088545"/>
                    <a:pt x="6457460" y="271128"/>
                    <a:pt x="6902785" y="263211"/>
                  </a:cubicBezTo>
                  <a:cubicBezTo>
                    <a:pt x="7348110" y="255294"/>
                    <a:pt x="7403528" y="1399284"/>
                    <a:pt x="8292198" y="1415117"/>
                  </a:cubicBezTo>
                  <a:lnTo>
                    <a:pt x="8280323" y="1807001"/>
                  </a:lnTo>
                  <a:cubicBezTo>
                    <a:pt x="7342173" y="1890128"/>
                    <a:pt x="7354047" y="2982659"/>
                    <a:pt x="6938411" y="2958908"/>
                  </a:cubicBezTo>
                  <a:cubicBezTo>
                    <a:pt x="6578193" y="2950992"/>
                    <a:pt x="6194223" y="2194928"/>
                    <a:pt x="5572748" y="2329516"/>
                  </a:cubicBezTo>
                  <a:cubicBezTo>
                    <a:pt x="4939397" y="2460144"/>
                    <a:pt x="4234795" y="3362669"/>
                    <a:pt x="3993330" y="3184540"/>
                  </a:cubicBezTo>
                  <a:cubicBezTo>
                    <a:pt x="3490608" y="3144955"/>
                    <a:pt x="3115503" y="2137275"/>
                    <a:pt x="2770172" y="2139511"/>
                  </a:cubicBezTo>
                  <a:cubicBezTo>
                    <a:pt x="2370154" y="2134394"/>
                    <a:pt x="2117032" y="3226106"/>
                    <a:pt x="1463889" y="2388895"/>
                  </a:cubicBezTo>
                  <a:cubicBezTo>
                    <a:pt x="810746" y="1551684"/>
                    <a:pt x="261859" y="1772968"/>
                    <a:pt x="62599" y="1676373"/>
                  </a:cubicBezTo>
                  <a:cubicBezTo>
                    <a:pt x="-16701" y="1643588"/>
                    <a:pt x="-20659" y="1539893"/>
                    <a:pt x="50723" y="1498244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rgbClr val="96D552"/>
                </a:gs>
                <a:gs pos="44000">
                  <a:srgbClr val="3CB8C6"/>
                </a:gs>
                <a:gs pos="71000">
                  <a:srgbClr val="96D552"/>
                </a:gs>
              </a:gsLst>
              <a:lin ang="10800000" scaled="1"/>
              <a:tileRect/>
            </a:gra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tIns="216000" rIns="90000" bIns="216000" rtlCol="0" anchor="ctr" anchorCtr="0"/>
            <a:lstStyle/>
            <a:p>
              <a:pPr algn="ctr">
                <a:lnSpc>
                  <a:spcPct val="90000"/>
                </a:lnSpc>
              </a:pPr>
              <a:endParaRPr lang="ru-RU" sz="3200" dirty="0">
                <a:ln w="0"/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776775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Скругленный прямоугольник 8">
            <a:extLst>
              <a:ext uri="{FF2B5EF4-FFF2-40B4-BE49-F238E27FC236}">
                <a16:creationId xmlns:a16="http://schemas.microsoft.com/office/drawing/2014/main" id="{D8CF266E-4F3F-7DA9-E7D2-36E85049CA71}"/>
              </a:ext>
            </a:extLst>
          </p:cNvPr>
          <p:cNvSpPr/>
          <p:nvPr/>
        </p:nvSpPr>
        <p:spPr>
          <a:xfrm>
            <a:off x="1579564" y="2761818"/>
            <a:ext cx="21232812" cy="8753907"/>
          </a:xfrm>
          <a:prstGeom prst="roundRect">
            <a:avLst>
              <a:gd name="adj" fmla="val 8925"/>
            </a:avLst>
          </a:prstGeom>
          <a:gradFill flip="none" rotWithShape="1">
            <a:gsLst>
              <a:gs pos="0">
                <a:srgbClr val="185634"/>
              </a:gs>
              <a:gs pos="25000">
                <a:srgbClr val="1A4932"/>
              </a:gs>
              <a:gs pos="52000">
                <a:srgbClr val="1E262D"/>
              </a:gs>
              <a:gs pos="81000">
                <a:srgbClr val="171717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id="{5355A576-A28A-2156-35C4-724CE94C4A3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Прогнозирование оценки </a:t>
            </a:r>
            <a:r>
              <a:rPr lang="en-US" dirty="0"/>
              <a:t>CSI</a:t>
            </a:r>
            <a:endParaRPr lang="ru-RU" dirty="0"/>
          </a:p>
          <a:p>
            <a:endParaRPr lang="ru-RU" dirty="0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8DDD0CE-B3D2-0774-3B2D-38ECD470C26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t>*</a:t>
            </a:r>
            <a:r>
              <a:rPr lang="en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Customer Satisfaction Index</a:t>
            </a:r>
            <a:endParaRPr lang="ru-RU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endParaRPr lang="ru-RU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62C8F7C-36E0-E147-489F-507406428AE1}"/>
              </a:ext>
            </a:extLst>
          </p:cNvPr>
          <p:cNvSpPr txBox="1"/>
          <p:nvPr/>
        </p:nvSpPr>
        <p:spPr>
          <a:xfrm>
            <a:off x="2201601" y="3591981"/>
            <a:ext cx="10312839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2400">
                <a:gradFill>
                  <a:gsLst>
                    <a:gs pos="100000">
                      <a:schemeClr val="bg2">
                        <a:lumMod val="60000"/>
                        <a:lumOff val="40000"/>
                      </a:schemeClr>
                    </a:gs>
                    <a:gs pos="0">
                      <a:schemeClr val="accent6"/>
                    </a:gs>
                  </a:gsLst>
                  <a:path path="circle">
                    <a:fillToRect l="100000" t="100000"/>
                  </a:path>
                </a:gradFill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  <a:lvl2pPr lvl="1">
              <a:defRPr>
                <a:solidFill>
                  <a:schemeClr val="bg1"/>
                </a:solidFill>
              </a:defRPr>
            </a:lvl2pPr>
          </a:lstStyle>
          <a:p>
            <a:r>
              <a:rPr lang="ru-RU" sz="4800" dirty="0">
                <a:gradFill>
                  <a:gsLst>
                    <a:gs pos="0">
                      <a:srgbClr val="5FA5FF"/>
                    </a:gs>
                    <a:gs pos="89000">
                      <a:srgbClr val="0EE3A5"/>
                    </a:gs>
                  </a:gsLst>
                  <a:path path="circle">
                    <a:fillToRect r="100000" b="100000"/>
                  </a:path>
                </a:gradFill>
                <a:ea typeface="+mn-ea"/>
                <a:cs typeface="+mn-cs"/>
              </a:rPr>
              <a:t>Благодаря качественному распознаванию</a:t>
            </a:r>
            <a:r>
              <a:rPr lang="en-US" sz="4800" dirty="0">
                <a:gradFill>
                  <a:gsLst>
                    <a:gs pos="0">
                      <a:srgbClr val="5FA5FF"/>
                    </a:gs>
                    <a:gs pos="89000">
                      <a:srgbClr val="0EE3A5"/>
                    </a:gs>
                  </a:gsLst>
                  <a:path path="circle">
                    <a:fillToRect r="100000" b="100000"/>
                  </a:path>
                </a:gradFill>
                <a:ea typeface="+mn-ea"/>
                <a:cs typeface="+mn-cs"/>
              </a:rPr>
              <a:t> </a:t>
            </a:r>
            <a:r>
              <a:rPr lang="ru-RU" sz="4800" dirty="0">
                <a:gradFill>
                  <a:gsLst>
                    <a:gs pos="0">
                      <a:srgbClr val="5FA5FF"/>
                    </a:gs>
                    <a:gs pos="89000">
                      <a:srgbClr val="0EE3A5"/>
                    </a:gs>
                  </a:gsLst>
                  <a:path path="circle">
                    <a:fillToRect r="100000" b="100000"/>
                  </a:path>
                </a:gradFill>
                <a:ea typeface="+mn-ea"/>
                <a:cs typeface="+mn-cs"/>
              </a:rPr>
              <a:t>речи и эмоций, наша</a:t>
            </a:r>
            <a:r>
              <a:rPr lang="en-US" sz="4800" dirty="0">
                <a:gradFill>
                  <a:gsLst>
                    <a:gs pos="0">
                      <a:srgbClr val="5FA5FF"/>
                    </a:gs>
                    <a:gs pos="89000">
                      <a:srgbClr val="0EE3A5"/>
                    </a:gs>
                  </a:gsLst>
                  <a:path path="circle">
                    <a:fillToRect r="100000" b="100000"/>
                  </a:path>
                </a:gradFill>
                <a:ea typeface="+mn-ea"/>
                <a:cs typeface="+mn-cs"/>
              </a:rPr>
              <a:t> </a:t>
            </a:r>
            <a:r>
              <a:rPr lang="ru-RU" sz="4800" dirty="0">
                <a:gradFill>
                  <a:gsLst>
                    <a:gs pos="0">
                      <a:srgbClr val="5FA5FF"/>
                    </a:gs>
                    <a:gs pos="89000">
                      <a:srgbClr val="0EE3A5"/>
                    </a:gs>
                  </a:gsLst>
                  <a:path path="circle">
                    <a:fillToRect r="100000" b="100000"/>
                  </a:path>
                </a:gradFill>
                <a:ea typeface="+mn-ea"/>
                <a:cs typeface="+mn-cs"/>
              </a:rPr>
              <a:t>новая модель </a:t>
            </a:r>
            <a:r>
              <a:rPr lang="en" sz="4800" dirty="0" err="1">
                <a:gradFill>
                  <a:gsLst>
                    <a:gs pos="0">
                      <a:srgbClr val="5FA5FF"/>
                    </a:gs>
                    <a:gs pos="89000">
                      <a:srgbClr val="0EE3A5"/>
                    </a:gs>
                  </a:gsLst>
                  <a:path path="circle">
                    <a:fillToRect r="100000" b="100000"/>
                  </a:path>
                </a:gradFill>
                <a:ea typeface="+mn-ea"/>
                <a:cs typeface="+mn-cs"/>
              </a:rPr>
              <a:t>SaluteSpeech</a:t>
            </a:r>
            <a:r>
              <a:rPr lang="ru-RU" sz="4800" dirty="0">
                <a:gradFill>
                  <a:gsLst>
                    <a:gs pos="0">
                      <a:srgbClr val="5FA5FF"/>
                    </a:gs>
                    <a:gs pos="89000">
                      <a:srgbClr val="0EE3A5"/>
                    </a:gs>
                  </a:gsLst>
                  <a:path path="circle">
                    <a:fillToRect r="100000" b="100000"/>
                  </a:path>
                </a:gradFill>
                <a:ea typeface="+mn-ea"/>
                <a:cs typeface="+mn-cs"/>
              </a:rPr>
              <a:t> умеет</a:t>
            </a:r>
            <a:r>
              <a:rPr lang="en-US" sz="4800" dirty="0">
                <a:gradFill>
                  <a:gsLst>
                    <a:gs pos="0">
                      <a:srgbClr val="5FA5FF"/>
                    </a:gs>
                    <a:gs pos="89000">
                      <a:srgbClr val="0EE3A5"/>
                    </a:gs>
                  </a:gsLst>
                  <a:path path="circle">
                    <a:fillToRect r="100000" b="100000"/>
                  </a:path>
                </a:gradFill>
                <a:ea typeface="+mn-ea"/>
                <a:cs typeface="+mn-cs"/>
              </a:rPr>
              <a:t> </a:t>
            </a:r>
            <a:r>
              <a:rPr lang="ru-RU" sz="4800" dirty="0">
                <a:gradFill>
                  <a:gsLst>
                    <a:gs pos="0">
                      <a:srgbClr val="5FA5FF"/>
                    </a:gs>
                    <a:gs pos="89000">
                      <a:srgbClr val="0EE3A5"/>
                    </a:gs>
                  </a:gsLst>
                  <a:path path="circle">
                    <a:fillToRect r="100000" b="100000"/>
                  </a:path>
                </a:gradFill>
                <a:ea typeface="+mn-ea"/>
                <a:cs typeface="+mn-cs"/>
              </a:rPr>
              <a:t>предсказывать </a:t>
            </a:r>
            <a:r>
              <a:rPr lang="en-US" sz="4800" dirty="0">
                <a:gradFill>
                  <a:gsLst>
                    <a:gs pos="0">
                      <a:srgbClr val="5FA5FF"/>
                    </a:gs>
                    <a:gs pos="89000">
                      <a:srgbClr val="0EE3A5"/>
                    </a:gs>
                  </a:gsLst>
                  <a:path path="circle">
                    <a:fillToRect r="100000" b="100000"/>
                  </a:path>
                </a:gradFill>
                <a:ea typeface="+mn-ea"/>
                <a:cs typeface="+mn-cs"/>
              </a:rPr>
              <a:t>CSI*</a:t>
            </a:r>
            <a:endParaRPr lang="ru-RU" sz="4800" dirty="0">
              <a:gradFill>
                <a:gsLst>
                  <a:gs pos="0">
                    <a:srgbClr val="5FA5FF"/>
                  </a:gs>
                  <a:gs pos="89000">
                    <a:srgbClr val="0EE3A5"/>
                  </a:gs>
                </a:gsLst>
                <a:path path="circle">
                  <a:fillToRect r="100000" b="100000"/>
                </a:path>
              </a:gradFill>
              <a:ea typeface="+mn-ea"/>
              <a:cs typeface="+mn-cs"/>
            </a:endParaRPr>
          </a:p>
          <a:p>
            <a:endParaRPr lang="ru-RU" sz="3200" dirty="0">
              <a:solidFill>
                <a:schemeClr val="bg1"/>
              </a:solidFill>
            </a:endParaRPr>
          </a:p>
          <a:p>
            <a:r>
              <a:rPr lang="ru-RU" sz="3200" dirty="0">
                <a:solidFill>
                  <a:schemeClr val="bg1"/>
                </a:solidFill>
              </a:rPr>
              <a:t>Эти данные помогают бизнесу принимать взвешенные решения и</a:t>
            </a:r>
            <a:r>
              <a:rPr lang="en-US" sz="3200" dirty="0">
                <a:solidFill>
                  <a:schemeClr val="bg1"/>
                </a:solidFill>
              </a:rPr>
              <a:t> </a:t>
            </a:r>
            <a:r>
              <a:rPr lang="ru-RU" sz="3200" dirty="0">
                <a:solidFill>
                  <a:schemeClr val="bg1"/>
                </a:solidFill>
              </a:rPr>
              <a:t>позволяют отказаться от</a:t>
            </a:r>
            <a:r>
              <a:rPr lang="en-US" sz="3200" dirty="0">
                <a:solidFill>
                  <a:schemeClr val="bg1"/>
                </a:solidFill>
              </a:rPr>
              <a:t> </a:t>
            </a:r>
            <a:r>
              <a:rPr lang="ru-RU" sz="3200" dirty="0">
                <a:solidFill>
                  <a:schemeClr val="bg1"/>
                </a:solidFill>
              </a:rPr>
              <a:t>опросов клиентов в</a:t>
            </a:r>
            <a:r>
              <a:rPr lang="en-US" sz="3200" dirty="0">
                <a:solidFill>
                  <a:schemeClr val="bg1"/>
                </a:solidFill>
              </a:rPr>
              <a:t> </a:t>
            </a:r>
            <a:r>
              <a:rPr lang="ru-RU" sz="3200" dirty="0">
                <a:solidFill>
                  <a:schemeClr val="bg1"/>
                </a:solidFill>
              </a:rPr>
              <a:t>их традиционном понимании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BF3E80FB-873C-E55E-07F9-522308DF1914}"/>
              </a:ext>
            </a:extLst>
          </p:cNvPr>
          <p:cNvSpPr/>
          <p:nvPr/>
        </p:nvSpPr>
        <p:spPr>
          <a:xfrm>
            <a:off x="1579562" y="11760592"/>
            <a:ext cx="1027906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chemeClr val="bg1"/>
                </a:solidFill>
              </a:rPr>
              <a:t>Модель работает с двухканальными аудио с качеством звука </a:t>
            </a:r>
            <a:r>
              <a:rPr lang="en-US" sz="2400" dirty="0">
                <a:solidFill>
                  <a:schemeClr val="bg1"/>
                </a:solidFill>
              </a:rPr>
              <a:t>8</a:t>
            </a:r>
            <a:r>
              <a:rPr lang="ru-RU" sz="2400" dirty="0">
                <a:solidFill>
                  <a:schemeClr val="bg1"/>
                </a:solidFill>
              </a:rPr>
              <a:t> кГц</a:t>
            </a:r>
          </a:p>
        </p:txBody>
      </p:sp>
      <p:sp>
        <p:nvSpPr>
          <p:cNvPr id="8" name="Скругленный прямоугольник 7">
            <a:extLst>
              <a:ext uri="{FF2B5EF4-FFF2-40B4-BE49-F238E27FC236}">
                <a16:creationId xmlns:a16="http://schemas.microsoft.com/office/drawing/2014/main" id="{8A64A7F6-3236-E546-8B5C-449238F38DC1}"/>
              </a:ext>
            </a:extLst>
          </p:cNvPr>
          <p:cNvSpPr/>
          <p:nvPr/>
        </p:nvSpPr>
        <p:spPr>
          <a:xfrm>
            <a:off x="12931775" y="3566909"/>
            <a:ext cx="8711411" cy="1161613"/>
          </a:xfrm>
          <a:prstGeom prst="roundRect">
            <a:avLst/>
          </a:prstGeom>
          <a:solidFill>
            <a:srgbClr val="F0F0F0">
              <a:alpha val="50000"/>
            </a:srgbClr>
          </a:solidFill>
          <a:ln>
            <a:noFill/>
          </a:ln>
          <a:effectLst/>
        </p:spPr>
        <p:txBody>
          <a:bodyPr rtlCol="0" anchor="ctr"/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200" dirty="0" err="1">
                <a:solidFill>
                  <a:schemeClr val="bg1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  <a:t>Нативный</a:t>
            </a:r>
            <a:r>
              <a:rPr lang="ru-RU" sz="3200" dirty="0">
                <a:solidFill>
                  <a:schemeClr val="bg1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  <a:t> сбор информации выводит работу с данными на новый уровень</a:t>
            </a:r>
          </a:p>
        </p:txBody>
      </p:sp>
      <p:sp>
        <p:nvSpPr>
          <p:cNvPr id="11" name="Скругленный прямоугольник 10">
            <a:extLst>
              <a:ext uri="{FF2B5EF4-FFF2-40B4-BE49-F238E27FC236}">
                <a16:creationId xmlns:a16="http://schemas.microsoft.com/office/drawing/2014/main" id="{D8E8F53D-3278-DD44-8B2D-7E9B7864A1D5}"/>
              </a:ext>
            </a:extLst>
          </p:cNvPr>
          <p:cNvSpPr/>
          <p:nvPr/>
        </p:nvSpPr>
        <p:spPr>
          <a:xfrm>
            <a:off x="12931775" y="5216276"/>
            <a:ext cx="8711411" cy="1161612"/>
          </a:xfrm>
          <a:prstGeom prst="roundRect">
            <a:avLst/>
          </a:prstGeom>
          <a:solidFill>
            <a:srgbClr val="F0F0F0">
              <a:alpha val="50000"/>
            </a:srgbClr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200" dirty="0">
                <a:solidFill>
                  <a:schemeClr val="bg1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  <a:t>Экономия ресурсов: не надо обзванивать людей с опросами о качестве услуг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12E9CFD8-6155-D04E-A5AA-CCBCCDC0CA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31774" y="8046322"/>
            <a:ext cx="8711411" cy="2047946"/>
          </a:xfrm>
          <a:prstGeom prst="rect">
            <a:avLst/>
          </a:prstGeom>
        </p:spPr>
      </p:pic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9E7C73C7-807F-B541-BD49-00EB8A5FB755}"/>
              </a:ext>
            </a:extLst>
          </p:cNvPr>
          <p:cNvSpPr/>
          <p:nvPr/>
        </p:nvSpPr>
        <p:spPr>
          <a:xfrm>
            <a:off x="14729658" y="6872479"/>
            <a:ext cx="198129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0338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0" cap="none" spc="0" normalizeH="0" baseline="0" noProof="0" dirty="0">
                <a:ln>
                  <a:noFill/>
                </a:ln>
                <a:solidFill>
                  <a:srgbClr val="FEFFF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Calibri"/>
              </a:rPr>
              <a:t>Позитив</a:t>
            </a:r>
            <a:endParaRPr kumimoji="0" lang="ru-RU" sz="4000" b="0" i="0" u="none" strike="noStrike" kern="0" cap="none" spc="0" normalizeH="0" baseline="0" noProof="0" dirty="0">
              <a:ln>
                <a:noFill/>
              </a:ln>
              <a:solidFill>
                <a:srgbClr val="FEFFFE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Calibri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2434D1F1-AAC5-EC49-8A79-6523292B2084}"/>
              </a:ext>
            </a:extLst>
          </p:cNvPr>
          <p:cNvSpPr/>
          <p:nvPr/>
        </p:nvSpPr>
        <p:spPr>
          <a:xfrm>
            <a:off x="16980534" y="10464025"/>
            <a:ext cx="198129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0338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0" cap="none" spc="0" normalizeH="0" baseline="0" noProof="0" dirty="0">
                <a:ln>
                  <a:noFill/>
                </a:ln>
                <a:solidFill>
                  <a:srgbClr val="FEFFF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Calibri"/>
              </a:rPr>
              <a:t>Негатив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089C84D3-E17D-494A-AF69-001D16684716}"/>
              </a:ext>
            </a:extLst>
          </p:cNvPr>
          <p:cNvSpPr/>
          <p:nvPr/>
        </p:nvSpPr>
        <p:spPr>
          <a:xfrm>
            <a:off x="12392681" y="10474777"/>
            <a:ext cx="382650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0338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0" cap="none" spc="0" normalizeH="0" baseline="0" noProof="0" dirty="0" err="1">
                <a:ln>
                  <a:noFill/>
                </a:ln>
                <a:solidFill>
                  <a:srgbClr val="FEFFF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Calibri"/>
              </a:rPr>
              <a:t>Нейтраль</a:t>
            </a:r>
            <a:endParaRPr kumimoji="0" lang="ru-RU" sz="3200" b="0" i="0" u="none" strike="noStrike" kern="0" cap="none" spc="0" normalizeH="0" baseline="0" noProof="0" dirty="0">
              <a:ln>
                <a:noFill/>
              </a:ln>
              <a:solidFill>
                <a:srgbClr val="FEFFFE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Calibri"/>
            </a:endParaRPr>
          </a:p>
        </p:txBody>
      </p:sp>
      <p:sp>
        <p:nvSpPr>
          <p:cNvPr id="25" name="Стрелка вниз 24">
            <a:extLst>
              <a:ext uri="{FF2B5EF4-FFF2-40B4-BE49-F238E27FC236}">
                <a16:creationId xmlns:a16="http://schemas.microsoft.com/office/drawing/2014/main" id="{CF64A1E5-DFBF-4A4D-9BF5-DD0829F5E26B}"/>
              </a:ext>
            </a:extLst>
          </p:cNvPr>
          <p:cNvSpPr/>
          <p:nvPr/>
        </p:nvSpPr>
        <p:spPr>
          <a:xfrm rot="10800000">
            <a:off x="14260214" y="9792928"/>
            <a:ext cx="116509" cy="814103"/>
          </a:xfrm>
          <a:prstGeom prst="downArrow">
            <a:avLst/>
          </a:prstGeom>
          <a:solidFill>
            <a:schemeClr val="bg2"/>
          </a:solidFill>
          <a:ln w="190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ru-RU" sz="3200" dirty="0">
              <a:ln w="0"/>
              <a:solidFill>
                <a:schemeClr val="tx1"/>
              </a:solidFill>
            </a:endParaRPr>
          </a:p>
        </p:txBody>
      </p:sp>
      <p:sp>
        <p:nvSpPr>
          <p:cNvPr id="26" name="Стрелка вниз 25">
            <a:extLst>
              <a:ext uri="{FF2B5EF4-FFF2-40B4-BE49-F238E27FC236}">
                <a16:creationId xmlns:a16="http://schemas.microsoft.com/office/drawing/2014/main" id="{09367E70-FDC2-BB49-889F-2702AA938D57}"/>
              </a:ext>
            </a:extLst>
          </p:cNvPr>
          <p:cNvSpPr/>
          <p:nvPr/>
        </p:nvSpPr>
        <p:spPr>
          <a:xfrm flipH="1">
            <a:off x="15766026" y="7476438"/>
            <a:ext cx="103239" cy="662805"/>
          </a:xfrm>
          <a:prstGeom prst="downArrow">
            <a:avLst/>
          </a:prstGeom>
          <a:solidFill>
            <a:schemeClr val="bg2"/>
          </a:solidFill>
          <a:ln w="190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ru-RU" sz="3200" dirty="0">
              <a:ln w="0"/>
              <a:solidFill>
                <a:schemeClr val="tx1"/>
              </a:solidFill>
            </a:endParaRPr>
          </a:p>
        </p:txBody>
      </p:sp>
      <p:sp>
        <p:nvSpPr>
          <p:cNvPr id="27" name="Стрелка вниз 26">
            <a:extLst>
              <a:ext uri="{FF2B5EF4-FFF2-40B4-BE49-F238E27FC236}">
                <a16:creationId xmlns:a16="http://schemas.microsoft.com/office/drawing/2014/main" id="{636D21DE-BA45-F140-886A-85B926A595CA}"/>
              </a:ext>
            </a:extLst>
          </p:cNvPr>
          <p:cNvSpPr/>
          <p:nvPr/>
        </p:nvSpPr>
        <p:spPr>
          <a:xfrm rot="10800000">
            <a:off x="17978283" y="9748684"/>
            <a:ext cx="116510" cy="814103"/>
          </a:xfrm>
          <a:prstGeom prst="downArrow">
            <a:avLst/>
          </a:prstGeom>
          <a:solidFill>
            <a:schemeClr val="bg2"/>
          </a:solidFill>
          <a:ln w="190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ru-RU" sz="3200" dirty="0">
              <a:ln w="0"/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970547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5355A576-A28A-2156-35C4-724CE94C4A3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61032" y="653760"/>
            <a:ext cx="21351344" cy="1450975"/>
          </a:xfrm>
        </p:spPr>
        <p:txBody>
          <a:bodyPr/>
          <a:lstStyle/>
          <a:p>
            <a:r>
              <a:rPr lang="ru-RU" dirty="0"/>
              <a:t>Аналитика скорости речи — комфортное общение и подстройка под клиента</a:t>
            </a:r>
            <a:endParaRPr lang="en-US" dirty="0"/>
          </a:p>
        </p:txBody>
      </p:sp>
      <p:sp>
        <p:nvSpPr>
          <p:cNvPr id="4" name="Скругленный прямоугольник 3">
            <a:extLst>
              <a:ext uri="{FF2B5EF4-FFF2-40B4-BE49-F238E27FC236}">
                <a16:creationId xmlns:a16="http://schemas.microsoft.com/office/drawing/2014/main" id="{4E80E4F1-24B9-7116-D5DA-202683A67242}"/>
              </a:ext>
            </a:extLst>
          </p:cNvPr>
          <p:cNvSpPr/>
          <p:nvPr/>
        </p:nvSpPr>
        <p:spPr>
          <a:xfrm>
            <a:off x="1579564" y="3860369"/>
            <a:ext cx="20496211" cy="8426882"/>
          </a:xfrm>
          <a:prstGeom prst="roundRect">
            <a:avLst>
              <a:gd name="adj" fmla="val 8925"/>
            </a:avLst>
          </a:prstGeom>
          <a:solidFill>
            <a:srgbClr val="1717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DDB5215-93E0-F30C-9356-51DD9AE23CBD}"/>
              </a:ext>
            </a:extLst>
          </p:cNvPr>
          <p:cNvSpPr txBox="1"/>
          <p:nvPr/>
        </p:nvSpPr>
        <p:spPr>
          <a:xfrm>
            <a:off x="2264444" y="4467642"/>
            <a:ext cx="11533073" cy="70480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spcAft>
                <a:spcPts val="1000"/>
              </a:spcAft>
              <a:defRPr>
                <a:solidFill>
                  <a:schemeClr val="bg1"/>
                </a:solidFill>
                <a:ea typeface="Helvetica Neue Light" panose="02000403000000020004" pitchFamily="2" charset="0"/>
                <a:cs typeface="Helvetica Neue" panose="02000503000000020004" pitchFamily="2" charset="0"/>
              </a:defRPr>
            </a:lvl1pPr>
            <a:lvl2pPr lvl="1">
              <a:defRPr>
                <a:solidFill>
                  <a:schemeClr val="bg1"/>
                </a:solidFill>
              </a:defRPr>
            </a:lvl2pPr>
          </a:lstStyle>
          <a:p>
            <a:pPr>
              <a:spcAft>
                <a:spcPts val="2400"/>
              </a:spcAft>
            </a:pPr>
            <a:r>
              <a:rPr lang="ru-RU" sz="3200" dirty="0">
                <a:ea typeface="+mn-ea"/>
                <a:cs typeface="+mn-cs"/>
              </a:rPr>
              <a:t>Определение скорости речи оператора и клиента</a:t>
            </a:r>
          </a:p>
          <a:p>
            <a:pPr>
              <a:spcAft>
                <a:spcPts val="2400"/>
              </a:spcAft>
            </a:pPr>
            <a:r>
              <a:rPr lang="ru-RU" sz="3200" dirty="0">
                <a:ea typeface="+mn-ea"/>
                <a:cs typeface="+mn-cs"/>
              </a:rPr>
              <a:t>Выявление операторов с отклонениями в скорости речи (слишком быстрая или медленная речь)</a:t>
            </a:r>
          </a:p>
          <a:p>
            <a:pPr>
              <a:spcAft>
                <a:spcPts val="2400"/>
              </a:spcAft>
            </a:pPr>
            <a:r>
              <a:rPr lang="ru-RU" sz="3200" dirty="0">
                <a:ea typeface="+mn-ea"/>
                <a:cs typeface="+mn-cs"/>
              </a:rPr>
              <a:t>Отклонение в скорости речи у оператора и клиента (определение подстраивался ли оператор под клиента)</a:t>
            </a:r>
          </a:p>
          <a:p>
            <a:pPr>
              <a:spcAft>
                <a:spcPts val="2400"/>
              </a:spcAft>
            </a:pPr>
            <a:r>
              <a:rPr lang="ru-RU" sz="3200" dirty="0">
                <a:ea typeface="+mn-ea"/>
                <a:cs typeface="+mn-cs"/>
              </a:rPr>
              <a:t>Интеллектуальный поиск перебиваний (перебивания определяются с учетом моделей, позволяющих отделить «активное слушание» оператора от некорректного)</a:t>
            </a:r>
          </a:p>
          <a:p>
            <a:pPr>
              <a:spcAft>
                <a:spcPts val="2400"/>
              </a:spcAft>
            </a:pPr>
            <a:r>
              <a:rPr lang="ru-RU" sz="3200" dirty="0">
                <a:ea typeface="+mn-ea"/>
                <a:cs typeface="+mn-cs"/>
              </a:rPr>
              <a:t>Использование данных по оценке эмоций и </a:t>
            </a:r>
            <a:r>
              <a:rPr lang="en-US" sz="3200" dirty="0">
                <a:ea typeface="+mn-ea"/>
                <a:cs typeface="+mn-cs"/>
              </a:rPr>
              <a:t>CSI </a:t>
            </a:r>
            <a:r>
              <a:rPr lang="ru-RU" sz="3200" dirty="0">
                <a:ea typeface="+mn-ea"/>
                <a:cs typeface="+mn-cs"/>
              </a:rPr>
              <a:t>в модели прогнозирования оттока клиентов и выгорания операторов</a:t>
            </a:r>
          </a:p>
          <a:p>
            <a:pPr>
              <a:spcAft>
                <a:spcPts val="2400"/>
              </a:spcAft>
            </a:pPr>
            <a:r>
              <a:rPr lang="ru-RU" sz="3200" dirty="0">
                <a:gradFill>
                  <a:gsLst>
                    <a:gs pos="23000">
                      <a:srgbClr val="5FA5FF"/>
                    </a:gs>
                    <a:gs pos="81000">
                      <a:srgbClr val="0EE3A5"/>
                    </a:gs>
                  </a:gsLst>
                  <a:path path="circle">
                    <a:fillToRect t="100000" r="100000"/>
                  </a:path>
                </a:gradFill>
                <a:ea typeface="+mn-ea"/>
                <a:cs typeface="+mn-cs"/>
              </a:rPr>
              <a:t>И другие возможности!</a:t>
            </a:r>
            <a:endParaRPr lang="en-US" sz="3200" dirty="0">
              <a:gradFill>
                <a:gsLst>
                  <a:gs pos="23000">
                    <a:srgbClr val="5FA5FF"/>
                  </a:gs>
                  <a:gs pos="81000">
                    <a:srgbClr val="0EE3A5"/>
                  </a:gs>
                </a:gsLst>
                <a:path path="circle">
                  <a:fillToRect t="100000" r="100000"/>
                </a:path>
              </a:gradFill>
              <a:ea typeface="+mn-ea"/>
              <a:cs typeface="+mn-cs"/>
            </a:endParaRPr>
          </a:p>
        </p:txBody>
      </p:sp>
      <p:sp>
        <p:nvSpPr>
          <p:cNvPr id="49" name="Текст 2">
            <a:extLst>
              <a:ext uri="{FF2B5EF4-FFF2-40B4-BE49-F238E27FC236}">
                <a16:creationId xmlns:a16="http://schemas.microsoft.com/office/drawing/2014/main" id="{04D7EB41-5A55-E670-3E71-543D0F24B15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79563" y="12614275"/>
            <a:ext cx="17573625" cy="368300"/>
          </a:xfrm>
        </p:spPr>
        <p:txBody>
          <a:bodyPr/>
          <a:lstStyle/>
          <a:p>
            <a:pPr marL="0" indent="0" algn="just">
              <a:buNone/>
            </a:pP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*Average Handling Time – </a:t>
            </a: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среднее время обслуживания </a:t>
            </a:r>
            <a:r>
              <a:rPr lang="en-US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peat Calls – </a:t>
            </a:r>
            <a:r>
              <a:rPr lang="ru-RU" sz="2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повторные обращения</a:t>
            </a:r>
            <a:endParaRPr lang="en-US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6" name="Скругленный прямоугольник 75">
            <a:extLst>
              <a:ext uri="{FF2B5EF4-FFF2-40B4-BE49-F238E27FC236}">
                <a16:creationId xmlns:a16="http://schemas.microsoft.com/office/drawing/2014/main" id="{A3E269DA-418E-1863-B77F-23E820278161}"/>
              </a:ext>
            </a:extLst>
          </p:cNvPr>
          <p:cNvSpPr/>
          <p:nvPr/>
        </p:nvSpPr>
        <p:spPr>
          <a:xfrm>
            <a:off x="13957755" y="3436937"/>
            <a:ext cx="8854622" cy="7896139"/>
          </a:xfrm>
          <a:prstGeom prst="roundRect">
            <a:avLst>
              <a:gd name="adj" fmla="val 8925"/>
            </a:avLst>
          </a:prstGeom>
          <a:gradFill flip="none" rotWithShape="1">
            <a:gsLst>
              <a:gs pos="0">
                <a:srgbClr val="185634"/>
              </a:gs>
              <a:gs pos="25000">
                <a:srgbClr val="1A4932"/>
              </a:gs>
              <a:gs pos="52000">
                <a:srgbClr val="1E262D"/>
              </a:gs>
              <a:gs pos="81000">
                <a:srgbClr val="171717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6B98B8D5-05C6-B1F5-75B6-BAA879F1C950}"/>
              </a:ext>
            </a:extLst>
          </p:cNvPr>
          <p:cNvSpPr/>
          <p:nvPr/>
        </p:nvSpPr>
        <p:spPr>
          <a:xfrm>
            <a:off x="14743113" y="5440147"/>
            <a:ext cx="3583032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600" dirty="0">
                <a:solidFill>
                  <a:schemeClr val="bg1"/>
                </a:solidFill>
              </a:rPr>
              <a:t>Value</a:t>
            </a:r>
            <a:r>
              <a:rPr lang="ru-RU" sz="9600" dirty="0">
                <a:solidFill>
                  <a:schemeClr val="bg1"/>
                </a:solidFill>
              </a:rPr>
              <a:t>:</a:t>
            </a:r>
          </a:p>
        </p:txBody>
      </p: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8F057CA7-4B66-0E19-FF8C-300894C0FDC2}"/>
              </a:ext>
            </a:extLst>
          </p:cNvPr>
          <p:cNvGrpSpPr/>
          <p:nvPr/>
        </p:nvGrpSpPr>
        <p:grpSpPr>
          <a:xfrm>
            <a:off x="18501416" y="5668827"/>
            <a:ext cx="3711903" cy="1219200"/>
            <a:chOff x="17051332" y="7014015"/>
            <a:chExt cx="3711903" cy="1219200"/>
          </a:xfrm>
        </p:grpSpPr>
        <p:sp>
          <p:nvSpPr>
            <p:cNvPr id="20" name="Скругленный прямоугольник 19">
              <a:extLst>
                <a:ext uri="{FF2B5EF4-FFF2-40B4-BE49-F238E27FC236}">
                  <a16:creationId xmlns:a16="http://schemas.microsoft.com/office/drawing/2014/main" id="{10EB76FF-758B-70B5-EBB6-EA0BC542A8DB}"/>
                </a:ext>
              </a:extLst>
            </p:cNvPr>
            <p:cNvSpPr/>
            <p:nvPr/>
          </p:nvSpPr>
          <p:spPr>
            <a:xfrm>
              <a:off x="17051332" y="7014015"/>
              <a:ext cx="3410580" cy="1219200"/>
            </a:xfrm>
            <a:prstGeom prst="roundRect">
              <a:avLst>
                <a:gd name="adj" fmla="val 50000"/>
              </a:avLst>
            </a:prstGeom>
            <a:solidFill>
              <a:schemeClr val="bg2">
                <a:alpha val="20832"/>
              </a:schemeClr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tIns="216000" rIns="90000" bIns="216000" rtlCol="0" anchor="ctr" anchorCtr="0"/>
            <a:lstStyle/>
            <a:p>
              <a:pPr algn="ctr">
                <a:lnSpc>
                  <a:spcPct val="90000"/>
                </a:lnSpc>
              </a:pPr>
              <a:endParaRPr lang="ru-RU" sz="3200" dirty="0">
                <a:ln w="0"/>
                <a:solidFill>
                  <a:schemeClr val="tx1"/>
                </a:solidFill>
              </a:endParaRPr>
            </a:p>
          </p:txBody>
        </p:sp>
        <p:sp>
          <p:nvSpPr>
            <p:cNvPr id="15" name="Стрелка вниз 14">
              <a:extLst>
                <a:ext uri="{FF2B5EF4-FFF2-40B4-BE49-F238E27FC236}">
                  <a16:creationId xmlns:a16="http://schemas.microsoft.com/office/drawing/2014/main" id="{5481B235-527F-2DC4-BE88-2151EE2C17F8}"/>
                </a:ext>
              </a:extLst>
            </p:cNvPr>
            <p:cNvSpPr/>
            <p:nvPr/>
          </p:nvSpPr>
          <p:spPr>
            <a:xfrm rot="10800000">
              <a:off x="17560413" y="7423089"/>
              <a:ext cx="390232" cy="810125"/>
            </a:xfrm>
            <a:prstGeom prst="down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B71CEA8F-66D5-250F-F1DB-6F5C999E894C}"/>
                </a:ext>
              </a:extLst>
            </p:cNvPr>
            <p:cNvSpPr txBox="1"/>
            <p:nvPr/>
          </p:nvSpPr>
          <p:spPr>
            <a:xfrm>
              <a:off x="18021421" y="7216167"/>
              <a:ext cx="2741814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>
                  <a:solidFill>
                    <a:schemeClr val="bg1"/>
                  </a:solidFill>
                </a:rPr>
                <a:t>Customer experience</a:t>
              </a:r>
            </a:p>
          </p:txBody>
        </p:sp>
      </p:grp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1BFB6B83-38DE-5C2C-8C64-71F96DE272F6}"/>
              </a:ext>
            </a:extLst>
          </p:cNvPr>
          <p:cNvGrpSpPr/>
          <p:nvPr/>
        </p:nvGrpSpPr>
        <p:grpSpPr>
          <a:xfrm>
            <a:off x="14767149" y="7309254"/>
            <a:ext cx="3711903" cy="1224244"/>
            <a:chOff x="17051332" y="7008971"/>
            <a:chExt cx="3711903" cy="1224244"/>
          </a:xfrm>
        </p:grpSpPr>
        <p:sp>
          <p:nvSpPr>
            <p:cNvPr id="23" name="Скругленный прямоугольник 22">
              <a:extLst>
                <a:ext uri="{FF2B5EF4-FFF2-40B4-BE49-F238E27FC236}">
                  <a16:creationId xmlns:a16="http://schemas.microsoft.com/office/drawing/2014/main" id="{77112B41-A627-086D-C4A9-C54F37663698}"/>
                </a:ext>
              </a:extLst>
            </p:cNvPr>
            <p:cNvSpPr/>
            <p:nvPr/>
          </p:nvSpPr>
          <p:spPr>
            <a:xfrm>
              <a:off x="17051332" y="7014015"/>
              <a:ext cx="3410580" cy="1219200"/>
            </a:xfrm>
            <a:prstGeom prst="roundRect">
              <a:avLst>
                <a:gd name="adj" fmla="val 50000"/>
              </a:avLst>
            </a:prstGeom>
            <a:solidFill>
              <a:schemeClr val="bg2">
                <a:alpha val="20832"/>
              </a:schemeClr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tIns="216000" rIns="90000" bIns="216000" rtlCol="0" anchor="ctr" anchorCtr="0"/>
            <a:lstStyle/>
            <a:p>
              <a:pPr algn="ctr">
                <a:lnSpc>
                  <a:spcPct val="90000"/>
                </a:lnSpc>
              </a:pPr>
              <a:endParaRPr lang="ru-RU" sz="3200" dirty="0">
                <a:ln w="0"/>
                <a:solidFill>
                  <a:schemeClr val="tx1"/>
                </a:solidFill>
              </a:endParaRPr>
            </a:p>
          </p:txBody>
        </p:sp>
        <p:sp>
          <p:nvSpPr>
            <p:cNvPr id="26" name="Стрелка вниз 25">
              <a:extLst>
                <a:ext uri="{FF2B5EF4-FFF2-40B4-BE49-F238E27FC236}">
                  <a16:creationId xmlns:a16="http://schemas.microsoft.com/office/drawing/2014/main" id="{DA71CE52-D8F9-65FB-3329-BDD2A0A0864A}"/>
                </a:ext>
              </a:extLst>
            </p:cNvPr>
            <p:cNvSpPr/>
            <p:nvPr/>
          </p:nvSpPr>
          <p:spPr>
            <a:xfrm>
              <a:off x="17560413" y="7008971"/>
              <a:ext cx="390232" cy="810125"/>
            </a:xfrm>
            <a:prstGeom prst="down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DD2A6E59-C685-8EE9-0FFD-6A453F990A07}"/>
                </a:ext>
              </a:extLst>
            </p:cNvPr>
            <p:cNvSpPr txBox="1"/>
            <p:nvPr/>
          </p:nvSpPr>
          <p:spPr>
            <a:xfrm>
              <a:off x="18021421" y="7392782"/>
              <a:ext cx="274181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>
                  <a:solidFill>
                    <a:schemeClr val="bg1"/>
                  </a:solidFill>
                </a:rPr>
                <a:t>AHT, RC*</a:t>
              </a:r>
              <a:endParaRPr lang="ru-RU" sz="2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11A2A622-35AC-9B13-E46B-6317C4A48E93}"/>
              </a:ext>
            </a:extLst>
          </p:cNvPr>
          <p:cNvGrpSpPr/>
          <p:nvPr/>
        </p:nvGrpSpPr>
        <p:grpSpPr>
          <a:xfrm>
            <a:off x="14767149" y="8786813"/>
            <a:ext cx="3711903" cy="1219200"/>
            <a:chOff x="17051332" y="7014015"/>
            <a:chExt cx="3711903" cy="1219200"/>
          </a:xfrm>
        </p:grpSpPr>
        <p:sp>
          <p:nvSpPr>
            <p:cNvPr id="29" name="Скругленный прямоугольник 28">
              <a:extLst>
                <a:ext uri="{FF2B5EF4-FFF2-40B4-BE49-F238E27FC236}">
                  <a16:creationId xmlns:a16="http://schemas.microsoft.com/office/drawing/2014/main" id="{2B059C8A-5494-0690-6024-392A17E68381}"/>
                </a:ext>
              </a:extLst>
            </p:cNvPr>
            <p:cNvSpPr/>
            <p:nvPr/>
          </p:nvSpPr>
          <p:spPr>
            <a:xfrm>
              <a:off x="17051332" y="7014015"/>
              <a:ext cx="3410580" cy="1219200"/>
            </a:xfrm>
            <a:prstGeom prst="roundRect">
              <a:avLst>
                <a:gd name="adj" fmla="val 50000"/>
              </a:avLst>
            </a:prstGeom>
            <a:solidFill>
              <a:schemeClr val="bg2">
                <a:alpha val="20832"/>
              </a:schemeClr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tIns="216000" rIns="90000" bIns="216000" rtlCol="0" anchor="ctr" anchorCtr="0"/>
            <a:lstStyle/>
            <a:p>
              <a:pPr algn="ctr">
                <a:lnSpc>
                  <a:spcPct val="90000"/>
                </a:lnSpc>
              </a:pPr>
              <a:endParaRPr lang="ru-RU" sz="3200" dirty="0">
                <a:ln w="0"/>
                <a:solidFill>
                  <a:schemeClr val="tx1"/>
                </a:solidFill>
              </a:endParaRPr>
            </a:p>
          </p:txBody>
        </p:sp>
        <p:sp>
          <p:nvSpPr>
            <p:cNvPr id="30" name="Стрелка вниз 29">
              <a:extLst>
                <a:ext uri="{FF2B5EF4-FFF2-40B4-BE49-F238E27FC236}">
                  <a16:creationId xmlns:a16="http://schemas.microsoft.com/office/drawing/2014/main" id="{3DEF064D-E0CA-4B0E-C425-E9500D4505F6}"/>
                </a:ext>
              </a:extLst>
            </p:cNvPr>
            <p:cNvSpPr/>
            <p:nvPr/>
          </p:nvSpPr>
          <p:spPr>
            <a:xfrm rot="10800000">
              <a:off x="17560413" y="7423089"/>
              <a:ext cx="390232" cy="810125"/>
            </a:xfrm>
            <a:prstGeom prst="down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0BCD4F07-5C9A-C3F9-65F3-356D4E15E688}"/>
                </a:ext>
              </a:extLst>
            </p:cNvPr>
            <p:cNvSpPr txBox="1"/>
            <p:nvPr/>
          </p:nvSpPr>
          <p:spPr>
            <a:xfrm>
              <a:off x="18021421" y="7392782"/>
              <a:ext cx="274181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400" dirty="0">
                  <a:solidFill>
                    <a:schemeClr val="bg1"/>
                  </a:solidFill>
                </a:rPr>
                <a:t>NPS, CSI</a:t>
              </a:r>
              <a:endParaRPr lang="ru-RU" sz="2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2" name="Группа 31">
            <a:extLst>
              <a:ext uri="{FF2B5EF4-FFF2-40B4-BE49-F238E27FC236}">
                <a16:creationId xmlns:a16="http://schemas.microsoft.com/office/drawing/2014/main" id="{6CCBED72-06E4-1AF6-0B5F-094D60BEC4E1}"/>
              </a:ext>
            </a:extLst>
          </p:cNvPr>
          <p:cNvGrpSpPr/>
          <p:nvPr/>
        </p:nvGrpSpPr>
        <p:grpSpPr>
          <a:xfrm>
            <a:off x="18533317" y="8786813"/>
            <a:ext cx="3711903" cy="1219200"/>
            <a:chOff x="17051332" y="7014015"/>
            <a:chExt cx="3711903" cy="1219200"/>
          </a:xfrm>
        </p:grpSpPr>
        <p:sp>
          <p:nvSpPr>
            <p:cNvPr id="33" name="Скругленный прямоугольник 32">
              <a:extLst>
                <a:ext uri="{FF2B5EF4-FFF2-40B4-BE49-F238E27FC236}">
                  <a16:creationId xmlns:a16="http://schemas.microsoft.com/office/drawing/2014/main" id="{CD3495CA-58C7-A560-79B4-377DAA1ED422}"/>
                </a:ext>
              </a:extLst>
            </p:cNvPr>
            <p:cNvSpPr/>
            <p:nvPr/>
          </p:nvSpPr>
          <p:spPr>
            <a:xfrm>
              <a:off x="17051332" y="7014015"/>
              <a:ext cx="3410580" cy="1219200"/>
            </a:xfrm>
            <a:prstGeom prst="roundRect">
              <a:avLst>
                <a:gd name="adj" fmla="val 50000"/>
              </a:avLst>
            </a:prstGeom>
            <a:solidFill>
              <a:schemeClr val="bg2">
                <a:alpha val="20832"/>
              </a:schemeClr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tIns="216000" rIns="90000" bIns="216000" rtlCol="0" anchor="ctr" anchorCtr="0"/>
            <a:lstStyle/>
            <a:p>
              <a:pPr algn="ctr">
                <a:lnSpc>
                  <a:spcPct val="90000"/>
                </a:lnSpc>
              </a:pPr>
              <a:endParaRPr lang="ru-RU" sz="3200" dirty="0">
                <a:ln w="0"/>
                <a:solidFill>
                  <a:schemeClr val="tx1"/>
                </a:solidFill>
              </a:endParaRPr>
            </a:p>
          </p:txBody>
        </p:sp>
        <p:sp>
          <p:nvSpPr>
            <p:cNvPr id="34" name="Стрелка вниз 33">
              <a:extLst>
                <a:ext uri="{FF2B5EF4-FFF2-40B4-BE49-F238E27FC236}">
                  <a16:creationId xmlns:a16="http://schemas.microsoft.com/office/drawing/2014/main" id="{23925CA0-4B6E-A32F-9710-4A48A8307F8A}"/>
                </a:ext>
              </a:extLst>
            </p:cNvPr>
            <p:cNvSpPr/>
            <p:nvPr/>
          </p:nvSpPr>
          <p:spPr>
            <a:xfrm rot="10800000">
              <a:off x="17560413" y="7423089"/>
              <a:ext cx="390232" cy="810125"/>
            </a:xfrm>
            <a:prstGeom prst="down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2CAE80AE-7282-44B8-C13C-073CD66DDDDC}"/>
                </a:ext>
              </a:extLst>
            </p:cNvPr>
            <p:cNvSpPr txBox="1"/>
            <p:nvPr/>
          </p:nvSpPr>
          <p:spPr>
            <a:xfrm>
              <a:off x="18021421" y="7392782"/>
              <a:ext cx="274181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dirty="0">
                  <a:solidFill>
                    <a:schemeClr val="bg1"/>
                  </a:solidFill>
                </a:rPr>
                <a:t>Продажи</a:t>
              </a:r>
            </a:p>
          </p:txBody>
        </p:sp>
      </p:grp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44FA431A-43C2-D91D-4AE4-B39580E1B4F3}"/>
              </a:ext>
            </a:extLst>
          </p:cNvPr>
          <p:cNvGrpSpPr/>
          <p:nvPr/>
        </p:nvGrpSpPr>
        <p:grpSpPr>
          <a:xfrm>
            <a:off x="18533317" y="7309254"/>
            <a:ext cx="3711903" cy="1219200"/>
            <a:chOff x="17051332" y="7014015"/>
            <a:chExt cx="3711903" cy="1219200"/>
          </a:xfrm>
        </p:grpSpPr>
        <p:sp>
          <p:nvSpPr>
            <p:cNvPr id="41" name="Скругленный прямоугольник 40">
              <a:extLst>
                <a:ext uri="{FF2B5EF4-FFF2-40B4-BE49-F238E27FC236}">
                  <a16:creationId xmlns:a16="http://schemas.microsoft.com/office/drawing/2014/main" id="{E05B1247-A215-C4FB-A012-D810E842DF7D}"/>
                </a:ext>
              </a:extLst>
            </p:cNvPr>
            <p:cNvSpPr/>
            <p:nvPr/>
          </p:nvSpPr>
          <p:spPr>
            <a:xfrm>
              <a:off x="17051332" y="7014015"/>
              <a:ext cx="3410580" cy="1219200"/>
            </a:xfrm>
            <a:prstGeom prst="roundRect">
              <a:avLst>
                <a:gd name="adj" fmla="val 50000"/>
              </a:avLst>
            </a:prstGeom>
            <a:solidFill>
              <a:schemeClr val="bg2">
                <a:alpha val="20832"/>
              </a:schemeClr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tIns="216000" rIns="90000" bIns="216000" rtlCol="0" anchor="ctr" anchorCtr="0"/>
            <a:lstStyle/>
            <a:p>
              <a:pPr algn="ctr">
                <a:lnSpc>
                  <a:spcPct val="90000"/>
                </a:lnSpc>
              </a:pPr>
              <a:endParaRPr lang="ru-RU" sz="3200" dirty="0">
                <a:ln w="0"/>
                <a:solidFill>
                  <a:schemeClr val="tx1"/>
                </a:solidFill>
              </a:endParaRPr>
            </a:p>
          </p:txBody>
        </p:sp>
        <p:sp>
          <p:nvSpPr>
            <p:cNvPr id="42" name="Стрелка вниз 41">
              <a:extLst>
                <a:ext uri="{FF2B5EF4-FFF2-40B4-BE49-F238E27FC236}">
                  <a16:creationId xmlns:a16="http://schemas.microsoft.com/office/drawing/2014/main" id="{BA270705-7AF7-5DD1-16AB-0855FF8E9EB7}"/>
                </a:ext>
              </a:extLst>
            </p:cNvPr>
            <p:cNvSpPr/>
            <p:nvPr/>
          </p:nvSpPr>
          <p:spPr>
            <a:xfrm>
              <a:off x="17560413" y="7044322"/>
              <a:ext cx="390232" cy="810125"/>
            </a:xfrm>
            <a:prstGeom prst="down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78C35287-9496-68B9-8B74-195C5451FF3B}"/>
                </a:ext>
              </a:extLst>
            </p:cNvPr>
            <p:cNvSpPr txBox="1"/>
            <p:nvPr/>
          </p:nvSpPr>
          <p:spPr>
            <a:xfrm>
              <a:off x="18021421" y="7392782"/>
              <a:ext cx="274181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dirty="0">
                  <a:solidFill>
                    <a:schemeClr val="bg1"/>
                  </a:solidFill>
                </a:rPr>
                <a:t>Отток</a:t>
              </a:r>
            </a:p>
          </p:txBody>
        </p:sp>
      </p:grpSp>
      <p:pic>
        <p:nvPicPr>
          <p:cNvPr id="48" name="Рисунок 47" descr="Лампочка и шестеренка">
            <a:extLst>
              <a:ext uri="{FF2B5EF4-FFF2-40B4-BE49-F238E27FC236}">
                <a16:creationId xmlns:a16="http://schemas.microsoft.com/office/drawing/2014/main" id="{8C414233-0BD5-9B5C-A94E-E15A95E72F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625859" y="3970056"/>
            <a:ext cx="1213656" cy="1213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16838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D2515FB-97B5-7D55-1FE3-5FDC25392AE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278" t="-1" r="-278" b="35927"/>
          <a:stretch/>
        </p:blipFill>
        <p:spPr>
          <a:xfrm>
            <a:off x="1137403" y="2488542"/>
            <a:ext cx="22107608" cy="4950484"/>
          </a:xfrm>
          <a:prstGeom prst="rect">
            <a:avLst/>
          </a:prstGeom>
        </p:spPr>
      </p:pic>
      <p:sp>
        <p:nvSpPr>
          <p:cNvPr id="32" name="Скругленный прямоугольник 31">
            <a:extLst>
              <a:ext uri="{FF2B5EF4-FFF2-40B4-BE49-F238E27FC236}">
                <a16:creationId xmlns:a16="http://schemas.microsoft.com/office/drawing/2014/main" id="{9B55875D-E04A-178E-F0A9-A20EEBC4AB1E}"/>
              </a:ext>
            </a:extLst>
          </p:cNvPr>
          <p:cNvSpPr/>
          <p:nvPr/>
        </p:nvSpPr>
        <p:spPr>
          <a:xfrm>
            <a:off x="18508233" y="1037803"/>
            <a:ext cx="4304142" cy="2218618"/>
          </a:xfrm>
          <a:prstGeom prst="roundRect">
            <a:avLst>
              <a:gd name="adj" fmla="val 50000"/>
            </a:avLst>
          </a:prstGeom>
          <a:solidFill>
            <a:schemeClr val="bg2">
              <a:alpha val="9095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ru-RU" sz="3200" dirty="0">
              <a:ln w="0"/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02436A2-7B05-0F2E-7A94-2698BC9010A1}"/>
              </a:ext>
            </a:extLst>
          </p:cNvPr>
          <p:cNvSpPr txBox="1"/>
          <p:nvPr/>
        </p:nvSpPr>
        <p:spPr>
          <a:xfrm>
            <a:off x="4313255" y="7312905"/>
            <a:ext cx="15768376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9600" dirty="0" err="1">
                <a:solidFill>
                  <a:schemeClr val="bg1"/>
                </a:solidFill>
              </a:rPr>
              <a:t>SaluteSpeech</a:t>
            </a:r>
            <a:r>
              <a:rPr lang="en-US" sz="9600" dirty="0">
                <a:solidFill>
                  <a:schemeClr val="bg1"/>
                </a:solidFill>
              </a:rPr>
              <a:t> </a:t>
            </a:r>
            <a:r>
              <a:rPr lang="en-US" sz="9600" dirty="0" err="1">
                <a:solidFill>
                  <a:schemeClr val="bg1"/>
                </a:solidFill>
              </a:rPr>
              <a:t>YourVoice</a:t>
            </a:r>
            <a:endParaRPr lang="ru-RU" sz="9600" dirty="0">
              <a:solidFill>
                <a:schemeClr val="bg1"/>
              </a:solidFill>
            </a:endParaRPr>
          </a:p>
          <a:p>
            <a:pPr algn="ctr">
              <a:spcBef>
                <a:spcPts val="2400"/>
              </a:spcBef>
            </a:pPr>
            <a:r>
              <a:rPr lang="ru-RU" sz="3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Создайте голос своего бренда! Синтезируем голос</a:t>
            </a:r>
            <a:br>
              <a:rPr lang="ru-RU" sz="32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ru-RU" sz="3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под </a:t>
            </a:r>
            <a:r>
              <a:rPr lang="ru-RU" sz="32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зака</a:t>
            </a:r>
            <a:r>
              <a:rPr lang="ru-RU" sz="3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или предложим готовый из каталога</a:t>
            </a:r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id="{5355A576-A28A-2156-35C4-724CE94C4A3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61032" y="653760"/>
            <a:ext cx="12657304" cy="1450975"/>
          </a:xfrm>
        </p:spPr>
        <p:txBody>
          <a:bodyPr/>
          <a:lstStyle/>
          <a:p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Уникальный голос бренда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DD4D8F8-0603-0D0F-6A70-7240026BBDDB}"/>
              </a:ext>
            </a:extLst>
          </p:cNvPr>
          <p:cNvSpPr txBox="1"/>
          <p:nvPr/>
        </p:nvSpPr>
        <p:spPr>
          <a:xfrm>
            <a:off x="6494585" y="15586796"/>
            <a:ext cx="12192000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3200" dirty="0">
                <a:solidFill>
                  <a:schemeClr val="bg1"/>
                </a:solidFill>
              </a:rPr>
              <a:t>Ассоциация с брендом в любом канале коммуникаций</a:t>
            </a:r>
          </a:p>
          <a:p>
            <a:pPr algn="ctr"/>
            <a:r>
              <a:rPr lang="ru-RU" sz="3200" dirty="0">
                <a:solidFill>
                  <a:schemeClr val="bg1"/>
                </a:solidFill>
              </a:rPr>
              <a:t>Экономия времени, финансовых затрат и ресурсов диктора</a:t>
            </a:r>
          </a:p>
          <a:p>
            <a:pPr algn="ctr"/>
            <a:r>
              <a:rPr lang="ru-RU" sz="3200" dirty="0">
                <a:solidFill>
                  <a:schemeClr val="bg1"/>
                </a:solidFill>
              </a:rPr>
              <a:t>Озвучивание текста любой сложности</a:t>
            </a:r>
            <a:endParaRPr lang="en-US" sz="3200" dirty="0">
              <a:solidFill>
                <a:schemeClr val="bg1"/>
              </a:solidFill>
            </a:endParaRPr>
          </a:p>
        </p:txBody>
      </p:sp>
      <p:pic>
        <p:nvPicPr>
          <p:cNvPr id="15" name="Picture 2">
            <a:extLst>
              <a:ext uri="{FF2B5EF4-FFF2-40B4-BE49-F238E27FC236}">
                <a16:creationId xmlns:a16="http://schemas.microsoft.com/office/drawing/2014/main" id="{53CF2D56-EFE6-B8F7-F64B-C35C6FA670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0098" y="2735263"/>
            <a:ext cx="3700974" cy="3700970"/>
          </a:xfrm>
          <a:prstGeom prst="roundRect">
            <a:avLst>
              <a:gd name="adj" fmla="val 10658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E05F0276-07AD-4B9B-D8CC-D2D258A662D8}"/>
              </a:ext>
            </a:extLst>
          </p:cNvPr>
          <p:cNvSpPr txBox="1"/>
          <p:nvPr/>
        </p:nvSpPr>
        <p:spPr>
          <a:xfrm>
            <a:off x="2753806" y="11080518"/>
            <a:ext cx="6571253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SzPct val="122000"/>
            </a:pPr>
            <a:r>
              <a:rPr lang="ru-RU" sz="3200" dirty="0">
                <a:solidFill>
                  <a:schemeClr val="bg1"/>
                </a:solidFill>
              </a:rPr>
              <a:t>Ассоциация с брендом</a:t>
            </a:r>
            <a:br>
              <a:rPr lang="ru-RU" sz="3200" dirty="0">
                <a:solidFill>
                  <a:schemeClr val="bg1"/>
                </a:solidFill>
              </a:rPr>
            </a:br>
            <a:r>
              <a:rPr lang="ru-RU" sz="3200" dirty="0">
                <a:solidFill>
                  <a:schemeClr val="bg1"/>
                </a:solidFill>
              </a:rPr>
              <a:t>в любом канале коммуникаций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BDB6190-FCA7-84BE-15E6-225263C689B1}"/>
              </a:ext>
            </a:extLst>
          </p:cNvPr>
          <p:cNvSpPr txBox="1"/>
          <p:nvPr/>
        </p:nvSpPr>
        <p:spPr>
          <a:xfrm>
            <a:off x="10821646" y="11080518"/>
            <a:ext cx="6989774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SzPct val="122000"/>
            </a:pPr>
            <a:r>
              <a:rPr lang="ru-RU" sz="3200" dirty="0">
                <a:solidFill>
                  <a:schemeClr val="bg1"/>
                </a:solidFill>
              </a:rPr>
              <a:t>Экономия времени, финансовых затрат и ресурсов диктора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97F2626-734C-6025-66C7-8610328AA6FF}"/>
              </a:ext>
            </a:extLst>
          </p:cNvPr>
          <p:cNvSpPr txBox="1"/>
          <p:nvPr/>
        </p:nvSpPr>
        <p:spPr>
          <a:xfrm>
            <a:off x="18907710" y="11080518"/>
            <a:ext cx="4763358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SzPct val="122000"/>
            </a:pPr>
            <a:r>
              <a:rPr lang="ru-RU" sz="3200" dirty="0">
                <a:solidFill>
                  <a:schemeClr val="bg1"/>
                </a:solidFill>
              </a:rPr>
              <a:t>Озвучивание текста любой сложности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20" name="Овал 19">
            <a:extLst>
              <a:ext uri="{FF2B5EF4-FFF2-40B4-BE49-F238E27FC236}">
                <a16:creationId xmlns:a16="http://schemas.microsoft.com/office/drawing/2014/main" id="{BAF9B70E-3CA1-75D0-E34E-5E18F8A1A921}"/>
              </a:ext>
            </a:extLst>
          </p:cNvPr>
          <p:cNvSpPr/>
          <p:nvPr/>
        </p:nvSpPr>
        <p:spPr>
          <a:xfrm>
            <a:off x="1601197" y="11080518"/>
            <a:ext cx="896178" cy="896178"/>
          </a:xfrm>
          <a:prstGeom prst="ellipse">
            <a:avLst/>
          </a:prstGeom>
          <a:solidFill>
            <a:srgbClr val="C7E228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r>
              <a:rPr lang="ru-RU" sz="3200" dirty="0">
                <a:ln w="0"/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2E727205-FCB6-9009-8D22-8A83B5043DAE}"/>
              </a:ext>
            </a:extLst>
          </p:cNvPr>
          <p:cNvSpPr/>
          <p:nvPr/>
        </p:nvSpPr>
        <p:spPr>
          <a:xfrm>
            <a:off x="9631363" y="11067636"/>
            <a:ext cx="896178" cy="896178"/>
          </a:xfrm>
          <a:prstGeom prst="ellipse">
            <a:avLst/>
          </a:prstGeom>
          <a:solidFill>
            <a:srgbClr val="44AB75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r>
              <a:rPr lang="ru-RU" sz="3200" dirty="0">
                <a:ln w="0"/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2538173F-7710-A217-7A76-C3AE25F443BD}"/>
              </a:ext>
            </a:extLst>
          </p:cNvPr>
          <p:cNvSpPr/>
          <p:nvPr/>
        </p:nvSpPr>
        <p:spPr>
          <a:xfrm>
            <a:off x="17811420" y="11080518"/>
            <a:ext cx="896178" cy="896178"/>
          </a:xfrm>
          <a:prstGeom prst="ellipse">
            <a:avLst/>
          </a:prstGeom>
          <a:solidFill>
            <a:srgbClr val="245CD4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r>
              <a:rPr lang="ru-RU" sz="3200" dirty="0">
                <a:ln w="0"/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DD72C2A-DE19-A22B-69D2-C726C865C78F}"/>
              </a:ext>
            </a:extLst>
          </p:cNvPr>
          <p:cNvSpPr txBox="1"/>
          <p:nvPr/>
        </p:nvSpPr>
        <p:spPr>
          <a:xfrm>
            <a:off x="19320448" y="871609"/>
            <a:ext cx="2717600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ru-RU" sz="2400" dirty="0">
              <a:solidFill>
                <a:schemeClr val="bg1"/>
              </a:solidFill>
            </a:endParaRPr>
          </a:p>
          <a:p>
            <a:r>
              <a:rPr lang="ru-RU" sz="4800" dirty="0">
                <a:solidFill>
                  <a:schemeClr val="bg1"/>
                </a:solidFill>
              </a:rPr>
              <a:t>1 месяц</a:t>
            </a:r>
            <a:br>
              <a:rPr lang="ru-RU" sz="2400" dirty="0">
                <a:solidFill>
                  <a:schemeClr val="bg1"/>
                </a:solidFill>
              </a:rPr>
            </a:br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8BC49CC-406B-6671-8420-9A4FDE5ECE7D}"/>
              </a:ext>
            </a:extLst>
          </p:cNvPr>
          <p:cNvSpPr txBox="1"/>
          <p:nvPr/>
        </p:nvSpPr>
        <p:spPr>
          <a:xfrm>
            <a:off x="19447279" y="2025770"/>
            <a:ext cx="336509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срок создания</a:t>
            </a:r>
            <a:br>
              <a:rPr lang="ru-RU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</a:br>
            <a:r>
              <a:rPr lang="ru-RU" sz="24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модели синтеза </a:t>
            </a:r>
          </a:p>
        </p:txBody>
      </p:sp>
    </p:spTree>
    <p:extLst>
      <p:ext uri="{BB962C8B-B14F-4D97-AF65-F5344CB8AC3E}">
        <p14:creationId xmlns:p14="http://schemas.microsoft.com/office/powerpoint/2010/main" val="419508852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>
            <a:extLst>
              <a:ext uri="{FF2B5EF4-FFF2-40B4-BE49-F238E27FC236}">
                <a16:creationId xmlns:a16="http://schemas.microsoft.com/office/drawing/2014/main" id="{53447DAE-91C9-48C9-517B-F8BC7BFFCD9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6572" r="1" b="19684"/>
          <a:stretch/>
        </p:blipFill>
        <p:spPr>
          <a:xfrm>
            <a:off x="6592877" y="1927224"/>
            <a:ext cx="17789535" cy="11788775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A966AA1-408C-B2CE-3A32-B0FBBAB8DCE2}"/>
              </a:ext>
            </a:extLst>
          </p:cNvPr>
          <p:cNvSpPr/>
          <p:nvPr/>
        </p:nvSpPr>
        <p:spPr>
          <a:xfrm rot="5400000">
            <a:off x="12991306" y="-5447504"/>
            <a:ext cx="5943599" cy="16838612"/>
          </a:xfrm>
          <a:prstGeom prst="rect">
            <a:avLst/>
          </a:prstGeom>
          <a:gradFill flip="none" rotWithShape="1">
            <a:gsLst>
              <a:gs pos="24000">
                <a:schemeClr val="tx1"/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ru-RU" sz="3200" dirty="0">
              <a:ln w="0"/>
              <a:solidFill>
                <a:schemeClr val="tx1"/>
              </a:solidFill>
            </a:endParaRP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F56106E8-1829-A0E5-91C9-983BF5E893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9447D48-0C72-B39D-81E2-8266A5D6D27F}"/>
              </a:ext>
            </a:extLst>
          </p:cNvPr>
          <p:cNvSpPr txBox="1"/>
          <p:nvPr/>
        </p:nvSpPr>
        <p:spPr>
          <a:xfrm>
            <a:off x="-1584960" y="701040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ru-RU" sz="3200" dirty="0" err="1">
              <a:solidFill>
                <a:sysClr val="windowText" lastClr="000000"/>
              </a:solidFill>
            </a:endParaRPr>
          </a:p>
        </p:txBody>
      </p:sp>
      <p:sp>
        <p:nvSpPr>
          <p:cNvPr id="5" name="Текст 2">
            <a:extLst>
              <a:ext uri="{FF2B5EF4-FFF2-40B4-BE49-F238E27FC236}">
                <a16:creationId xmlns:a16="http://schemas.microsoft.com/office/drawing/2014/main" id="{857BC99D-1AF6-FF1C-2283-759D5A07BE63}"/>
              </a:ext>
            </a:extLst>
          </p:cNvPr>
          <p:cNvSpPr txBox="1">
            <a:spLocks/>
          </p:cNvSpPr>
          <p:nvPr/>
        </p:nvSpPr>
        <p:spPr>
          <a:xfrm>
            <a:off x="1507374" y="727493"/>
            <a:ext cx="12280817" cy="610220"/>
          </a:xfrm>
          <a:prstGeom prst="rect">
            <a:avLst/>
          </a:prstGeom>
        </p:spPr>
        <p:txBody>
          <a:bodyPr/>
          <a:lstStyle>
            <a:lvl1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" indent="0" algn="l" defTabSz="190790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bg2"/>
              </a:buClr>
              <a:buSzPct val="120000"/>
              <a:buFontTx/>
              <a:buNone/>
              <a:defRPr sz="3200" b="1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SzPct val="100000"/>
              <a:buFont typeface="System Font Regular"/>
              <a:buChar char="•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54000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82861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3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028699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7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3" indent="-457155" algn="l" defTabSz="182861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4800" dirty="0">
                <a:solidFill>
                  <a:schemeClr val="bg1"/>
                </a:solidFill>
              </a:rPr>
              <a:t>Реальные кейсы применения</a:t>
            </a:r>
            <a:endParaRPr lang="en-US" sz="4800" dirty="0">
              <a:solidFill>
                <a:schemeClr val="bg1"/>
              </a:solidFill>
            </a:endParaRPr>
          </a:p>
          <a:p>
            <a:r>
              <a:rPr lang="en-US" sz="15000" dirty="0" err="1">
                <a:gradFill>
                  <a:gsLst>
                    <a:gs pos="24000">
                      <a:srgbClr val="0EE3A5"/>
                    </a:gs>
                    <a:gs pos="100000">
                      <a:srgbClr val="5FA5FF"/>
                    </a:gs>
                  </a:gsLst>
                  <a:lin ang="0" scaled="1"/>
                </a:gradFill>
                <a:ea typeface="Helvetica Neue Light" panose="02000403000000020004" pitchFamily="2" charset="0"/>
              </a:rPr>
              <a:t>SaluteSpeech</a:t>
            </a:r>
            <a:endParaRPr lang="ru-RU" sz="15000" dirty="0">
              <a:gradFill>
                <a:gsLst>
                  <a:gs pos="24000">
                    <a:srgbClr val="0EE3A5"/>
                  </a:gs>
                  <a:gs pos="100000">
                    <a:srgbClr val="5FA5FF"/>
                  </a:gs>
                </a:gsLst>
                <a:lin ang="0" scaled="1"/>
              </a:gradFill>
              <a:ea typeface="Helvetica Neue Light" panose="020004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71311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5355A576-A28A-2156-35C4-724CE94C4A3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61032" y="653760"/>
            <a:ext cx="20773326" cy="1450975"/>
          </a:xfrm>
        </p:spPr>
        <p:txBody>
          <a:bodyPr/>
          <a:lstStyle/>
          <a:p>
            <a:r>
              <a:rPr lang="en" sz="4800" dirty="0"/>
              <a:t>Telegram-</a:t>
            </a:r>
            <a:r>
              <a:rPr lang="ru-RU" sz="4800" dirty="0"/>
              <a:t>бот для расшифровки голосовых сообщений и аудиозаписей</a:t>
            </a:r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B72AFA15-B712-BEE4-0C2B-38CE27F731A8}"/>
              </a:ext>
            </a:extLst>
          </p:cNvPr>
          <p:cNvGrpSpPr/>
          <p:nvPr/>
        </p:nvGrpSpPr>
        <p:grpSpPr>
          <a:xfrm>
            <a:off x="1579563" y="2846864"/>
            <a:ext cx="5027162" cy="7477633"/>
            <a:chOff x="1579563" y="2846864"/>
            <a:chExt cx="5027162" cy="7477633"/>
          </a:xfrm>
        </p:grpSpPr>
        <p:pic>
          <p:nvPicPr>
            <p:cNvPr id="3" name="Рисунок 2">
              <a:extLst>
                <a:ext uri="{FF2B5EF4-FFF2-40B4-BE49-F238E27FC236}">
                  <a16:creationId xmlns:a16="http://schemas.microsoft.com/office/drawing/2014/main" id="{B74C594A-95B1-38E6-A81E-BC5E62C97E6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8193" t="32148" r="17743" b="24741"/>
            <a:stretch/>
          </p:blipFill>
          <p:spPr>
            <a:xfrm>
              <a:off x="1579563" y="3822700"/>
              <a:ext cx="5027162" cy="6501797"/>
            </a:xfrm>
            <a:prstGeom prst="roundRect">
              <a:avLst>
                <a:gd name="adj" fmla="val 7441"/>
              </a:avLst>
            </a:prstGeom>
          </p:spPr>
        </p:pic>
        <p:sp>
          <p:nvSpPr>
            <p:cNvPr id="9" name="Овал 8">
              <a:extLst>
                <a:ext uri="{FF2B5EF4-FFF2-40B4-BE49-F238E27FC236}">
                  <a16:creationId xmlns:a16="http://schemas.microsoft.com/office/drawing/2014/main" id="{CBB8CF9E-79B5-DB9F-F83C-AFF17A357254}"/>
                </a:ext>
              </a:extLst>
            </p:cNvPr>
            <p:cNvSpPr/>
            <p:nvPr/>
          </p:nvSpPr>
          <p:spPr>
            <a:xfrm>
              <a:off x="3234064" y="2846864"/>
              <a:ext cx="1718158" cy="1717199"/>
            </a:xfrm>
            <a:prstGeom prst="ellipse">
              <a:avLst/>
            </a:prstGeom>
            <a:solidFill>
              <a:schemeClr val="tx1"/>
            </a:solidFill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000" tIns="216000" rIns="90000" bIns="216000" rtlCol="0" anchor="ctr" anchorCtr="0"/>
            <a:lstStyle/>
            <a:p>
              <a:pPr algn="ctr">
                <a:lnSpc>
                  <a:spcPct val="90000"/>
                </a:lnSpc>
              </a:pPr>
              <a:endParaRPr lang="ru-RU" sz="3200" dirty="0">
                <a:ln w="0"/>
                <a:solidFill>
                  <a:schemeClr val="tx1"/>
                </a:solidFill>
              </a:endParaRPr>
            </a:p>
          </p:txBody>
        </p:sp>
        <p:pic>
          <p:nvPicPr>
            <p:cNvPr id="10" name="Picture 2">
              <a:extLst>
                <a:ext uri="{FF2B5EF4-FFF2-40B4-BE49-F238E27FC236}">
                  <a16:creationId xmlns:a16="http://schemas.microsoft.com/office/drawing/2014/main" id="{4806C5C2-3FF4-55AF-A0B8-C82F941E167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4420" r="1488"/>
            <a:stretch/>
          </p:blipFill>
          <p:spPr bwMode="auto">
            <a:xfrm>
              <a:off x="3234543" y="2846864"/>
              <a:ext cx="1717201" cy="1717199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F8C025F3-D60A-F5EB-15D3-A6AEDEA55A4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27" r="1115" b="3230"/>
          <a:stretch/>
        </p:blipFill>
        <p:spPr>
          <a:xfrm>
            <a:off x="7432675" y="3795730"/>
            <a:ext cx="13574535" cy="6624620"/>
          </a:xfrm>
          <a:prstGeom prst="roundRect">
            <a:avLst>
              <a:gd name="adj" fmla="val 5753"/>
            </a:avLst>
          </a:prstGeom>
        </p:spPr>
      </p:pic>
    </p:spTree>
    <p:extLst>
      <p:ext uri="{BB962C8B-B14F-4D97-AF65-F5344CB8AC3E}">
        <p14:creationId xmlns:p14="http://schemas.microsoft.com/office/powerpoint/2010/main" val="10454302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72657D83-5765-6742-85F8-D2B29312AE56}"/>
              </a:ext>
            </a:extLst>
          </p:cNvPr>
          <p:cNvSpPr/>
          <p:nvPr/>
        </p:nvSpPr>
        <p:spPr>
          <a:xfrm>
            <a:off x="0" y="0"/>
            <a:ext cx="24382413" cy="13716000"/>
          </a:xfrm>
          <a:prstGeom prst="rect">
            <a:avLst/>
          </a:prstGeom>
          <a:solidFill>
            <a:schemeClr val="tx1"/>
          </a:solidFill>
          <a:ln w="190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ru-RU" sz="3200" dirty="0">
              <a:ln w="0"/>
              <a:solidFill>
                <a:schemeClr val="tx1"/>
              </a:solidFill>
            </a:endParaRPr>
          </a:p>
        </p:txBody>
      </p:sp>
      <p:sp>
        <p:nvSpPr>
          <p:cNvPr id="910" name="Текст 1"/>
          <p:cNvSpPr txBox="1"/>
          <p:nvPr/>
        </p:nvSpPr>
        <p:spPr>
          <a:xfrm>
            <a:off x="906993" y="3574218"/>
            <a:ext cx="22568427" cy="165094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91432" tIns="91432" rIns="91432" bIns="91432">
            <a:spAutoFit/>
          </a:bodyPr>
          <a:lstStyle/>
          <a:p>
            <a:pPr algn="ctr" defTabSz="1828899">
              <a:lnSpc>
                <a:spcPct val="90000"/>
              </a:lnSpc>
              <a:defRPr sz="6000" b="1">
                <a:solidFill>
                  <a:srgbClr val="FFFFFF"/>
                </a:solidFill>
                <a:latin typeface="SB Sans Display"/>
                <a:ea typeface="SB Sans Display"/>
                <a:cs typeface="SB Sans Display"/>
                <a:sym typeface="SB Sans Display"/>
              </a:defRPr>
            </a:pPr>
            <a:endParaRPr sz="10587" dirty="0"/>
          </a:p>
        </p:txBody>
      </p:sp>
      <p:sp>
        <p:nvSpPr>
          <p:cNvPr id="5" name="Текст 2">
            <a:extLst>
              <a:ext uri="{FF2B5EF4-FFF2-40B4-BE49-F238E27FC236}">
                <a16:creationId xmlns:a16="http://schemas.microsoft.com/office/drawing/2014/main" id="{754C79EA-DA90-0244-8D74-A9FC730197C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38986" y="854464"/>
            <a:ext cx="22568427" cy="1450882"/>
          </a:xfrm>
        </p:spPr>
        <p:txBody>
          <a:bodyPr/>
          <a:lstStyle/>
          <a:p>
            <a:r>
              <a:rPr lang="ru-RU" altLang="ru-RU" sz="7200" dirty="0">
                <a:gradFill flip="none" rotWithShape="1">
                  <a:gsLst>
                    <a:gs pos="0">
                      <a:srgbClr val="00D756"/>
                    </a:gs>
                    <a:gs pos="99000">
                      <a:srgbClr val="27C6E5"/>
                    </a:gs>
                  </a:gsLst>
                  <a:lin ang="10800000" scaled="1"/>
                  <a:tileRect/>
                </a:gradFill>
                <a:ea typeface="+mn-ea"/>
                <a:cs typeface="+mn-cs"/>
                <a:sym typeface="Helvetica" pitchFamily="2" charset="0"/>
              </a:rPr>
              <a:t>Меры поддержки ИТ государством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FE514A3-813E-4C4B-9ACA-3BEF2DBF04E0}"/>
              </a:ext>
            </a:extLst>
          </p:cNvPr>
          <p:cNvSpPr txBox="1"/>
          <p:nvPr/>
        </p:nvSpPr>
        <p:spPr>
          <a:xfrm>
            <a:off x="12535227" y="3159810"/>
            <a:ext cx="11284213" cy="85869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2400"/>
              </a:spcAft>
            </a:pPr>
            <a:r>
              <a:rPr lang="ru-RU" b="1" dirty="0">
                <a:gradFill flip="none" rotWithShape="1">
                  <a:gsLst>
                    <a:gs pos="0">
                      <a:srgbClr val="00D756"/>
                    </a:gs>
                    <a:gs pos="99000">
                      <a:srgbClr val="27C6E5"/>
                    </a:gs>
                  </a:gsLst>
                  <a:lin ang="10800000" scaled="1"/>
                  <a:tileRect/>
                </a:gradFill>
                <a:sym typeface="Helvetica" pitchFamily="2" charset="0"/>
              </a:rPr>
              <a:t>Целевая поддержка ИТ отрасли </a:t>
            </a:r>
          </a:p>
          <a:p>
            <a:pPr marL="457200" indent="-45720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ru-RU" sz="3200" dirty="0">
                <a:solidFill>
                  <a:schemeClr val="bg1"/>
                </a:solidFill>
                <a:sym typeface="Helvetica" pitchFamily="2" charset="0"/>
              </a:rPr>
              <a:t>Нормативная поддержка отечественных решений в закупочных процедурах</a:t>
            </a:r>
          </a:p>
          <a:p>
            <a:pPr marL="457200" indent="-45720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ru-RU" sz="3200" dirty="0">
                <a:solidFill>
                  <a:schemeClr val="bg1"/>
                </a:solidFill>
                <a:sym typeface="Helvetica" pitchFamily="2" charset="0"/>
              </a:rPr>
              <a:t>Предоставление налоговых льгот компаниям-разработчикам ПО</a:t>
            </a:r>
          </a:p>
          <a:p>
            <a:pPr marL="457200" indent="-457200">
              <a:spcAft>
                <a:spcPts val="2400"/>
              </a:spcAft>
              <a:buFont typeface="Arial" panose="020B0604020202020204" pitchFamily="34" charset="0"/>
              <a:buChar char="•"/>
            </a:pPr>
            <a:endParaRPr lang="ru-RU" sz="3200" dirty="0">
              <a:solidFill>
                <a:schemeClr val="bg1"/>
              </a:solidFill>
              <a:sym typeface="Helvetica" pitchFamily="2" charset="0"/>
            </a:endParaRPr>
          </a:p>
          <a:p>
            <a:pPr>
              <a:spcAft>
                <a:spcPts val="2400"/>
              </a:spcAft>
            </a:pPr>
            <a:r>
              <a:rPr lang="ru-RU" sz="3200" dirty="0">
                <a:solidFill>
                  <a:schemeClr val="bg1"/>
                </a:solidFill>
                <a:sym typeface="Helvetica" pitchFamily="2" charset="0"/>
              </a:rPr>
              <a:t>Данные меры поддержки предоставляют разработчикам инструменты для ускоренного развития решений, а российским компаниям широкие возможности для интеграции отечественного ПО</a:t>
            </a:r>
          </a:p>
          <a:p>
            <a:pPr>
              <a:spcAft>
                <a:spcPts val="2400"/>
              </a:spcAft>
            </a:pPr>
            <a:r>
              <a:rPr lang="ru-RU" sz="3200" dirty="0">
                <a:solidFill>
                  <a:schemeClr val="bg1"/>
                </a:solidFill>
                <a:sym typeface="Helvetica" pitchFamily="2" charset="0"/>
              </a:rPr>
              <a:t>Мы готовы оказать компаниям-заказчикам комплексную поддержку при выборе и получении финансирования со стороны государства. Все наши продукты соответствуют требованиям получения грантов и субсидий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7866931-B341-504E-ABA1-F736136A7E90}"/>
              </a:ext>
            </a:extLst>
          </p:cNvPr>
          <p:cNvSpPr txBox="1"/>
          <p:nvPr/>
        </p:nvSpPr>
        <p:spPr>
          <a:xfrm>
            <a:off x="1251013" y="3159810"/>
            <a:ext cx="9689181" cy="89562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2400"/>
              </a:spcAft>
            </a:pPr>
            <a:r>
              <a:rPr lang="ru-RU" b="1" dirty="0">
                <a:gradFill flip="none" rotWithShape="1">
                  <a:gsLst>
                    <a:gs pos="0">
                      <a:srgbClr val="00D756"/>
                    </a:gs>
                    <a:gs pos="99000">
                      <a:srgbClr val="27C6E5"/>
                    </a:gs>
                  </a:gsLst>
                  <a:lin ang="10800000" scaled="1"/>
                  <a:tileRect/>
                </a:gradFill>
              </a:rPr>
              <a:t>Предоставление субсидий</a:t>
            </a:r>
          </a:p>
          <a:p>
            <a:pPr marL="457200" indent="-45720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ru-RU" sz="3200" dirty="0">
                <a:solidFill>
                  <a:schemeClr val="bg1"/>
                </a:solidFill>
              </a:rPr>
              <a:t>На разработку и внедрение ПО </a:t>
            </a:r>
            <a:r>
              <a:rPr lang="ru-RU" sz="3200" dirty="0">
                <a:solidFill>
                  <a:schemeClr val="bg1"/>
                </a:solidFill>
                <a:sym typeface="Helvetica" pitchFamily="2" charset="0"/>
              </a:rPr>
              <a:t>Субсидия на поддержку проектов по разработке и внедрению </a:t>
            </a:r>
            <a:r>
              <a:rPr lang="ru-RU" sz="3200" dirty="0" err="1">
                <a:solidFill>
                  <a:schemeClr val="bg1"/>
                </a:solidFill>
                <a:sym typeface="Helvetica" pitchFamily="2" charset="0"/>
              </a:rPr>
              <a:t>российских</a:t>
            </a:r>
            <a:r>
              <a:rPr lang="ru-RU" sz="3200" dirty="0">
                <a:solidFill>
                  <a:schemeClr val="bg1"/>
                </a:solidFill>
                <a:sym typeface="Helvetica" pitchFamily="2" charset="0"/>
              </a:rPr>
              <a:t> решений в сфере информационных технологий - ПП 550 (РФРИТ) Сумма гранта: </a:t>
            </a:r>
            <a:r>
              <a:rPr lang="ru-RU" sz="3200" dirty="0">
                <a:gradFill flip="none" rotWithShape="1">
                  <a:gsLst>
                    <a:gs pos="0">
                      <a:srgbClr val="00D756"/>
                    </a:gs>
                    <a:gs pos="99000">
                      <a:srgbClr val="27C6E5"/>
                    </a:gs>
                  </a:gsLst>
                  <a:lin ang="10800000" scaled="1"/>
                  <a:tileRect/>
                </a:gradFill>
                <a:sym typeface="Helvetica" pitchFamily="2" charset="0"/>
              </a:rPr>
              <a:t>от ₽20 млн до ₽500 млн</a:t>
            </a:r>
            <a:endParaRPr lang="ru-RU" sz="4400" dirty="0">
              <a:gradFill flip="none" rotWithShape="1">
                <a:gsLst>
                  <a:gs pos="0">
                    <a:srgbClr val="00D756"/>
                  </a:gs>
                  <a:gs pos="99000">
                    <a:srgbClr val="27C6E5"/>
                  </a:gs>
                </a:gsLst>
                <a:lin ang="10800000" scaled="1"/>
                <a:tileRect/>
              </a:gradFill>
              <a:sym typeface="Helvetica" pitchFamily="2" charset="0"/>
            </a:endParaRPr>
          </a:p>
          <a:p>
            <a:pPr marL="457200" indent="-45720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ru-RU" sz="3200" dirty="0">
                <a:solidFill>
                  <a:schemeClr val="bg1"/>
                </a:solidFill>
              </a:rPr>
              <a:t>На закупку ПО Субсидия на возмещение затрат по использованию субъектами малого и среднего предпринимательства </a:t>
            </a:r>
            <a:r>
              <a:rPr lang="ru-RU" sz="3200" dirty="0" err="1">
                <a:solidFill>
                  <a:schemeClr val="bg1"/>
                </a:solidFill>
              </a:rPr>
              <a:t>российского</a:t>
            </a:r>
            <a:r>
              <a:rPr lang="ru-RU" sz="3200" dirty="0">
                <a:solidFill>
                  <a:schemeClr val="bg1"/>
                </a:solidFill>
              </a:rPr>
              <a:t> программного обеспечения - ПП № 1031</a:t>
            </a:r>
            <a:r>
              <a:rPr lang="ru-RU" sz="3200" dirty="0">
                <a:solidFill>
                  <a:schemeClr val="bg1"/>
                </a:solidFill>
                <a:sym typeface="Helvetica" pitchFamily="2" charset="0"/>
              </a:rPr>
              <a:t>(РФРИТ) </a:t>
            </a:r>
          </a:p>
          <a:p>
            <a:pPr marL="457200" indent="-457200">
              <a:spcAft>
                <a:spcPts val="2400"/>
              </a:spcAft>
              <a:buFont typeface="Arial" panose="020B0604020202020204" pitchFamily="34" charset="0"/>
              <a:buChar char="•"/>
            </a:pPr>
            <a:r>
              <a:rPr lang="ru-RU" sz="3200" dirty="0">
                <a:solidFill>
                  <a:schemeClr val="bg1"/>
                </a:solidFill>
                <a:sym typeface="Helvetica" pitchFamily="2" charset="0"/>
              </a:rPr>
              <a:t>На внедрение технологий искусственного интеллекта в приоритетных отраслях - ПП 767. Сумма гранта: до </a:t>
            </a:r>
            <a:r>
              <a:rPr lang="ru-RU" sz="3200" dirty="0">
                <a:gradFill flip="none" rotWithShape="1">
                  <a:gsLst>
                    <a:gs pos="0">
                      <a:srgbClr val="00D756"/>
                    </a:gs>
                    <a:gs pos="99000">
                      <a:srgbClr val="27C6E5"/>
                    </a:gs>
                  </a:gsLst>
                  <a:lin ang="10800000" scaled="1"/>
                  <a:tileRect/>
                </a:gradFill>
                <a:sym typeface="Helvetica" pitchFamily="2" charset="0"/>
              </a:rPr>
              <a:t>₽100 млн.</a:t>
            </a:r>
            <a:r>
              <a:rPr lang="ru-RU" sz="3200" dirty="0">
                <a:solidFill>
                  <a:schemeClr val="bg1"/>
                </a:solidFill>
                <a:sym typeface="Helvetica" pitchFamily="2" charset="0"/>
              </a:rPr>
              <a:t> До 2024 года будет выделено 5,26 млрд руб.</a:t>
            </a:r>
          </a:p>
        </p:txBody>
      </p:sp>
    </p:spTree>
    <p:extLst>
      <p:ext uri="{BB962C8B-B14F-4D97-AF65-F5344CB8AC3E}">
        <p14:creationId xmlns:p14="http://schemas.microsoft.com/office/powerpoint/2010/main" val="1392971116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5355A576-A28A-2156-35C4-724CE94C4A3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61032" y="653760"/>
            <a:ext cx="20773326" cy="1450975"/>
          </a:xfrm>
        </p:spPr>
        <p:txBody>
          <a:bodyPr/>
          <a:lstStyle/>
          <a:p>
            <a:r>
              <a:rPr lang="ru-RU" sz="4800" dirty="0"/>
              <a:t>Салют –</a:t>
            </a:r>
            <a:r>
              <a:rPr lang="en-US" sz="4800" dirty="0"/>
              <a:t> </a:t>
            </a:r>
            <a:r>
              <a:rPr lang="ru-RU" sz="4800" dirty="0"/>
              <a:t>семейство виртуальных ассистентов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C427CCD-D91B-5705-1269-2CA1F90B42C1}"/>
              </a:ext>
            </a:extLst>
          </p:cNvPr>
          <p:cNvSpPr txBox="1"/>
          <p:nvPr/>
        </p:nvSpPr>
        <p:spPr>
          <a:xfrm>
            <a:off x="15841686" y="2449800"/>
            <a:ext cx="193807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828709">
              <a:defRPr/>
            </a:pPr>
            <a:r>
              <a:rPr lang="ru-RU" sz="4800" dirty="0" err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бер</a:t>
            </a:r>
            <a:endParaRPr lang="ru-RU" sz="48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61B4061-CA7A-6CB3-F91C-5A233684F674}"/>
              </a:ext>
            </a:extLst>
          </p:cNvPr>
          <p:cNvSpPr txBox="1"/>
          <p:nvPr/>
        </p:nvSpPr>
        <p:spPr>
          <a:xfrm>
            <a:off x="13228727" y="10561652"/>
            <a:ext cx="19109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828709">
              <a:defRPr/>
            </a:pPr>
            <a:r>
              <a:rPr lang="ru-RU" sz="4800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жой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46F7CAA-3175-1440-BA7D-F903835B8A62}"/>
              </a:ext>
            </a:extLst>
          </p:cNvPr>
          <p:cNvSpPr txBox="1"/>
          <p:nvPr/>
        </p:nvSpPr>
        <p:spPr>
          <a:xfrm>
            <a:off x="18042120" y="7120240"/>
            <a:ext cx="246700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828709">
              <a:defRPr/>
            </a:pPr>
            <a:r>
              <a:rPr lang="ru-RU" sz="4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фина</a:t>
            </a:r>
          </a:p>
        </p:txBody>
      </p:sp>
      <p:pic>
        <p:nvPicPr>
          <p:cNvPr id="10" name="Salut">
            <a:hlinkClick r:id="" action="ppaction://media"/>
            <a:extLst>
              <a:ext uri="{FF2B5EF4-FFF2-40B4-BE49-F238E27FC236}">
                <a16:creationId xmlns:a16="http://schemas.microsoft.com/office/drawing/2014/main" id="{ED2A6C55-D511-A95A-0ABC-7EE4484933A9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14"/>
          <a:srcRect l="24134" t="24584" r="24437" b="24775"/>
          <a:stretch>
            <a:fillRect/>
          </a:stretch>
        </p:blipFill>
        <p:spPr>
          <a:xfrm>
            <a:off x="12590683" y="1893186"/>
            <a:ext cx="2769104" cy="2726620"/>
          </a:xfrm>
          <a:prstGeom prst="ellipse">
            <a:avLst/>
          </a:prstGeom>
        </p:spPr>
      </p:pic>
      <p:pic>
        <p:nvPicPr>
          <p:cNvPr id="11" name="Eva">
            <a:hlinkClick r:id="" action="ppaction://media"/>
            <a:extLst>
              <a:ext uri="{FF2B5EF4-FFF2-40B4-BE49-F238E27FC236}">
                <a16:creationId xmlns:a16="http://schemas.microsoft.com/office/drawing/2014/main" id="{E571A841-2929-BF84-4CD7-5E125E11D735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 rotWithShape="1">
          <a:blip r:embed="rId15"/>
          <a:srcRect l="23864" t="23157" r="24046" b="22923"/>
          <a:stretch>
            <a:fillRect/>
          </a:stretch>
        </p:blipFill>
        <p:spPr>
          <a:xfrm>
            <a:off x="14871394" y="6745685"/>
            <a:ext cx="2633989" cy="2726616"/>
          </a:xfrm>
          <a:prstGeom prst="ellipse">
            <a:avLst/>
          </a:prstGeom>
        </p:spPr>
      </p:pic>
      <p:pic>
        <p:nvPicPr>
          <p:cNvPr id="12" name="Mag_">
            <a:hlinkClick r:id="" action="ppaction://media"/>
            <a:extLst>
              <a:ext uri="{FF2B5EF4-FFF2-40B4-BE49-F238E27FC236}">
                <a16:creationId xmlns:a16="http://schemas.microsoft.com/office/drawing/2014/main" id="{650607FB-76B0-81F9-66E3-283443B34E0D}"/>
              </a:ext>
            </a:extLst>
          </p:cNvPr>
          <p:cNvPicPr>
            <a:picLocks noChangeAspect="1"/>
          </p:cNvPicPr>
          <p:nvPr>
            <a:vide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 rotWithShape="1">
          <a:blip r:embed="rId16"/>
          <a:srcRect l="22871" t="24946" r="23341" b="23259"/>
          <a:stretch>
            <a:fillRect/>
          </a:stretch>
        </p:blipFill>
        <p:spPr>
          <a:xfrm>
            <a:off x="9863478" y="9912002"/>
            <a:ext cx="2837629" cy="2732508"/>
          </a:xfrm>
          <a:prstGeom prst="ellipse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8FC66BC9-D4AF-FF01-141A-DEBEA890BC43}"/>
              </a:ext>
            </a:extLst>
          </p:cNvPr>
          <p:cNvSpPr txBox="1"/>
          <p:nvPr/>
        </p:nvSpPr>
        <p:spPr>
          <a:xfrm>
            <a:off x="1658031" y="4291057"/>
            <a:ext cx="445494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7200"/>
              </a:lnSpc>
            </a:pPr>
            <a:r>
              <a:rPr lang="ru-RU" sz="7200" dirty="0"/>
              <a:t>Салют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6FD1183-C293-DE24-4577-02E445D9BBD9}"/>
              </a:ext>
            </a:extLst>
          </p:cNvPr>
          <p:cNvSpPr txBox="1"/>
          <p:nvPr/>
        </p:nvSpPr>
        <p:spPr>
          <a:xfrm>
            <a:off x="15841688" y="3324629"/>
            <a:ext cx="383879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3200" dirty="0">
                <a:solidFill>
                  <a:srgbClr val="FEFFFE"/>
                </a:solidFill>
              </a:rPr>
              <a:t>деловой стиль общения</a:t>
            </a:r>
            <a:endParaRPr lang="ru-RU" sz="3200" dirty="0">
              <a:solidFill>
                <a:srgbClr val="FCFFFC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928339E-ED3B-64BE-136F-8C2FE30A4819}"/>
              </a:ext>
            </a:extLst>
          </p:cNvPr>
          <p:cNvSpPr txBox="1"/>
          <p:nvPr/>
        </p:nvSpPr>
        <p:spPr>
          <a:xfrm>
            <a:off x="13228728" y="11436480"/>
            <a:ext cx="427665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3200" dirty="0">
                <a:solidFill>
                  <a:srgbClr val="FEFFFE"/>
                </a:solidFill>
              </a:rPr>
              <a:t>легкий стиль общения и бодрое настроение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111C3BA-AF2A-FAA9-49F1-394EB196CA7D}"/>
              </a:ext>
            </a:extLst>
          </p:cNvPr>
          <p:cNvSpPr txBox="1"/>
          <p:nvPr/>
        </p:nvSpPr>
        <p:spPr>
          <a:xfrm>
            <a:off x="18074264" y="7995068"/>
            <a:ext cx="532438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3200" dirty="0">
                <a:solidFill>
                  <a:srgbClr val="FEFFFE"/>
                </a:solidFill>
              </a:rPr>
              <a:t>умеренный тон, понимающий собеседник для любых задач</a:t>
            </a:r>
            <a:endParaRPr lang="ru-RU" sz="3200" dirty="0">
              <a:solidFill>
                <a:srgbClr val="FCFFFC"/>
              </a:solidFill>
            </a:endParaRPr>
          </a:p>
        </p:txBody>
      </p:sp>
      <p:grpSp>
        <p:nvGrpSpPr>
          <p:cNvPr id="22" name="Group 25">
            <a:extLst>
              <a:ext uri="{FF2B5EF4-FFF2-40B4-BE49-F238E27FC236}">
                <a16:creationId xmlns:a16="http://schemas.microsoft.com/office/drawing/2014/main" id="{CE47C1C3-0724-1CA8-44F5-A9CEE8AD8960}"/>
              </a:ext>
            </a:extLst>
          </p:cNvPr>
          <p:cNvGrpSpPr/>
          <p:nvPr/>
        </p:nvGrpSpPr>
        <p:grpSpPr>
          <a:xfrm>
            <a:off x="4505508" y="2220274"/>
            <a:ext cx="6394566" cy="5696469"/>
            <a:chOff x="1951692" y="1130727"/>
            <a:chExt cx="2908300" cy="2590800"/>
          </a:xfrm>
        </p:grpSpPr>
        <p:pic>
          <p:nvPicPr>
            <p:cNvPr id="23" name="Рисунок 22">
              <a:extLst>
                <a:ext uri="{FF2B5EF4-FFF2-40B4-BE49-F238E27FC236}">
                  <a16:creationId xmlns:a16="http://schemas.microsoft.com/office/drawing/2014/main" id="{FE20E30B-45CB-9B55-F541-D0F74CE606A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14206" y="1651761"/>
              <a:ext cx="1859458" cy="1859458"/>
            </a:xfrm>
            <a:prstGeom prst="rect">
              <a:avLst/>
            </a:prstGeom>
          </p:spPr>
        </p:pic>
        <p:pic>
          <p:nvPicPr>
            <p:cNvPr id="24" name="Рисунок 23">
              <a:extLst>
                <a:ext uri="{FF2B5EF4-FFF2-40B4-BE49-F238E27FC236}">
                  <a16:creationId xmlns:a16="http://schemas.microsoft.com/office/drawing/2014/main" id="{0CC4FF90-F66C-9767-9567-D157CC964629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1951692" y="1130727"/>
              <a:ext cx="2908300" cy="2590800"/>
            </a:xfrm>
            <a:prstGeom prst="rect">
              <a:avLst/>
            </a:prstGeom>
          </p:spPr>
        </p:pic>
      </p:grp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03FC4244-387F-980D-1EAE-A6795B2D7890}"/>
              </a:ext>
            </a:extLst>
          </p:cNvPr>
          <p:cNvCxnSpPr>
            <a:cxnSpLocks/>
          </p:cNvCxnSpPr>
          <p:nvPr/>
        </p:nvCxnSpPr>
        <p:spPr>
          <a:xfrm flipH="1" flipV="1">
            <a:off x="9620126" y="7736692"/>
            <a:ext cx="936217" cy="1874040"/>
          </a:xfrm>
          <a:prstGeom prst="line">
            <a:avLst/>
          </a:prstGeom>
          <a:ln w="15875">
            <a:solidFill>
              <a:schemeClr val="accent5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ADCD0526-9897-0FE9-F66D-64EEC4582C1F}"/>
              </a:ext>
            </a:extLst>
          </p:cNvPr>
          <p:cNvCxnSpPr>
            <a:cxnSpLocks/>
          </p:cNvCxnSpPr>
          <p:nvPr/>
        </p:nvCxnSpPr>
        <p:spPr>
          <a:xfrm>
            <a:off x="10900074" y="5998923"/>
            <a:ext cx="3563042" cy="1345306"/>
          </a:xfrm>
          <a:prstGeom prst="line">
            <a:avLst/>
          </a:prstGeom>
          <a:ln w="15875">
            <a:solidFill>
              <a:schemeClr val="tx2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04FB1C53-DF55-8206-C5B4-B61E339F2306}"/>
              </a:ext>
            </a:extLst>
          </p:cNvPr>
          <p:cNvCxnSpPr>
            <a:cxnSpLocks/>
          </p:cNvCxnSpPr>
          <p:nvPr/>
        </p:nvCxnSpPr>
        <p:spPr>
          <a:xfrm flipV="1">
            <a:off x="10556342" y="3864915"/>
            <a:ext cx="1696040" cy="762646"/>
          </a:xfrm>
          <a:prstGeom prst="line">
            <a:avLst/>
          </a:prstGeom>
          <a:ln w="15875"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8CE29749-FCA3-6974-0C13-AB9760AB6585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773072" y="6693674"/>
            <a:ext cx="2830638" cy="2830638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099EAF4F-14BC-496A-BBE2-63840D4D1861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64706" y="9860670"/>
            <a:ext cx="2835173" cy="2835173"/>
          </a:xfrm>
          <a:prstGeom prst="rect">
            <a:avLst/>
          </a:prstGeom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51CEB3B2-627B-850A-FBF7-322C68533428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569082" y="1871978"/>
            <a:ext cx="2830640" cy="2830640"/>
          </a:xfrm>
          <a:prstGeom prst="rect">
            <a:avLst/>
          </a:prstGeom>
        </p:spPr>
      </p:pic>
      <p:sp>
        <p:nvSpPr>
          <p:cNvPr id="32" name="Текст 5">
            <a:extLst>
              <a:ext uri="{FF2B5EF4-FFF2-40B4-BE49-F238E27FC236}">
                <a16:creationId xmlns:a16="http://schemas.microsoft.com/office/drawing/2014/main" id="{0B9E6C97-5A18-439E-EDCF-DA182D3452FC}"/>
              </a:ext>
            </a:extLst>
          </p:cNvPr>
          <p:cNvSpPr txBox="1">
            <a:spLocks/>
          </p:cNvSpPr>
          <p:nvPr/>
        </p:nvSpPr>
        <p:spPr>
          <a:xfrm>
            <a:off x="1481473" y="6060789"/>
            <a:ext cx="9581886" cy="2689849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9600" kern="0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Салют</a:t>
            </a:r>
            <a:br>
              <a:rPr lang="ru-RU" sz="4800" kern="0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4800" dirty="0" err="1">
                <a:gradFill flip="none" rotWithShape="1">
                  <a:gsLst>
                    <a:gs pos="0">
                      <a:schemeClr val="accent2"/>
                    </a:gs>
                    <a:gs pos="99000">
                      <a:srgbClr val="1E93B7"/>
                    </a:gs>
                    <a:gs pos="44000">
                      <a:srgbClr val="0EE3A5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</a:rPr>
              <a:t>SaluteSpeech</a:t>
            </a:r>
            <a:endParaRPr lang="en-US" sz="4800" dirty="0">
              <a:gradFill flip="none" rotWithShape="1">
                <a:gsLst>
                  <a:gs pos="0">
                    <a:schemeClr val="accent2"/>
                  </a:gs>
                  <a:gs pos="99000">
                    <a:srgbClr val="1E93B7"/>
                  </a:gs>
                  <a:gs pos="44000">
                    <a:srgbClr val="0EE3A5"/>
                  </a:gs>
                </a:gsLst>
                <a:path path="circle">
                  <a:fillToRect l="100000" t="100000"/>
                </a:path>
                <a:tileRect r="-100000" b="-100000"/>
              </a:gradFill>
            </a:endParaRPr>
          </a:p>
          <a:p>
            <a:pPr marL="0" indent="0" defTabSz="1828801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en-US" sz="4800" dirty="0">
              <a:solidFill>
                <a:schemeClr val="bg1"/>
              </a:solidFill>
            </a:endParaRPr>
          </a:p>
        </p:txBody>
      </p:sp>
      <p:pic>
        <p:nvPicPr>
          <p:cNvPr id="33" name="sber" descr="sber">
            <a:hlinkClick r:id="" action="ppaction://media"/>
            <a:extLst>
              <a:ext uri="{FF2B5EF4-FFF2-40B4-BE49-F238E27FC236}">
                <a16:creationId xmlns:a16="http://schemas.microsoft.com/office/drawing/2014/main" id="{AF43132A-BBB0-D8D3-F262-799B55D94829}"/>
              </a:ext>
            </a:extLst>
          </p:cNvPr>
          <p:cNvPicPr>
            <a:picLocks noChangeAspect="1"/>
          </p:cNvPicPr>
          <p:nvPr>
            <a:audioFile r:link="rId8"/>
            <p:extLst>
              <p:ext uri="{DAA4B4D4-6D71-4841-9C94-3DE7FCFB9230}">
                <p14:media xmlns:p14="http://schemas.microsoft.com/office/powerpoint/2010/main" r:embed="rId7"/>
              </p:ext>
            </p:extLst>
          </p:nvPr>
        </p:nvPicPr>
        <p:blipFill>
          <a:blip r:embed="rId22"/>
          <a:stretch>
            <a:fillRect/>
          </a:stretch>
        </p:blipFill>
        <p:spPr>
          <a:xfrm>
            <a:off x="17505383" y="2492667"/>
            <a:ext cx="757301" cy="757301"/>
          </a:xfrm>
          <a:prstGeom prst="rect">
            <a:avLst/>
          </a:prstGeom>
        </p:spPr>
      </p:pic>
      <p:pic>
        <p:nvPicPr>
          <p:cNvPr id="34" name="athena" descr="athena">
            <a:hlinkClick r:id="" action="ppaction://media"/>
            <a:extLst>
              <a:ext uri="{FF2B5EF4-FFF2-40B4-BE49-F238E27FC236}">
                <a16:creationId xmlns:a16="http://schemas.microsoft.com/office/drawing/2014/main" id="{6078E89B-104A-4834-B82E-DB4AC2EAE7EE}"/>
              </a:ext>
            </a:extLst>
          </p:cNvPr>
          <p:cNvPicPr>
            <a:picLocks noChangeAspect="1"/>
          </p:cNvPicPr>
          <p:nvPr>
            <a:audioFile r:link="rId10"/>
            <p:extLst>
              <p:ext uri="{DAA4B4D4-6D71-4841-9C94-3DE7FCFB9230}">
                <p14:media xmlns:p14="http://schemas.microsoft.com/office/powerpoint/2010/main" r:embed="rId9"/>
              </p:ext>
            </p:extLst>
          </p:nvPr>
        </p:nvPicPr>
        <p:blipFill>
          <a:blip r:embed="rId22"/>
          <a:stretch>
            <a:fillRect/>
          </a:stretch>
        </p:blipFill>
        <p:spPr>
          <a:xfrm>
            <a:off x="20045527" y="7159443"/>
            <a:ext cx="757301" cy="757301"/>
          </a:xfrm>
          <a:prstGeom prst="rect">
            <a:avLst/>
          </a:prstGeom>
        </p:spPr>
      </p:pic>
      <p:pic>
        <p:nvPicPr>
          <p:cNvPr id="35" name="joy" descr="joy">
            <a:hlinkClick r:id="" action="ppaction://media"/>
            <a:extLst>
              <a:ext uri="{FF2B5EF4-FFF2-40B4-BE49-F238E27FC236}">
                <a16:creationId xmlns:a16="http://schemas.microsoft.com/office/drawing/2014/main" id="{D5E70A46-8DC5-B658-4C60-0D33E2A7235B}"/>
              </a:ext>
            </a:extLst>
          </p:cNvPr>
          <p:cNvPicPr>
            <a:picLocks noChangeAspect="1"/>
          </p:cNvPicPr>
          <p:nvPr>
            <a:audioFile r:link="rId12"/>
            <p:extLst>
              <p:ext uri="{DAA4B4D4-6D71-4841-9C94-3DE7FCFB9230}">
                <p14:media xmlns:p14="http://schemas.microsoft.com/office/powerpoint/2010/main" r:embed="rId11"/>
              </p:ext>
            </p:extLst>
          </p:nvPr>
        </p:nvPicPr>
        <p:blipFill>
          <a:blip r:embed="rId22"/>
          <a:stretch>
            <a:fillRect/>
          </a:stretch>
        </p:blipFill>
        <p:spPr>
          <a:xfrm>
            <a:off x="14900760" y="10604519"/>
            <a:ext cx="757301" cy="757301"/>
          </a:xfrm>
          <a:prstGeom prst="rect">
            <a:avLst/>
          </a:prstGeom>
        </p:spPr>
      </p:pic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3AA623B-A053-AC68-C5C0-5EC77EEEED83}"/>
              </a:ext>
            </a:extLst>
          </p:cNvPr>
          <p:cNvSpPr/>
          <p:nvPr/>
        </p:nvSpPr>
        <p:spPr>
          <a:xfrm>
            <a:off x="1481473" y="8445975"/>
            <a:ext cx="5708888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Системный шрифт, обычный"/>
              <a:buChar char="⎻"/>
            </a:pPr>
            <a:r>
              <a:rPr lang="ru-RU" sz="3200" dirty="0">
                <a:solidFill>
                  <a:schemeClr val="bg1"/>
                </a:solidFill>
              </a:rPr>
              <a:t>Разные характеры</a:t>
            </a:r>
          </a:p>
          <a:p>
            <a:pPr marL="285750" indent="-285750">
              <a:buFont typeface="Системный шрифт, обычный"/>
              <a:buChar char="⎻"/>
            </a:pPr>
            <a:r>
              <a:rPr lang="ru-RU" sz="3200" dirty="0">
                <a:solidFill>
                  <a:schemeClr val="bg1"/>
                </a:solidFill>
              </a:rPr>
              <a:t>Разные голоса</a:t>
            </a:r>
          </a:p>
          <a:p>
            <a:pPr marL="285750" indent="-285750">
              <a:buFont typeface="Системный шрифт, обычный"/>
              <a:buChar char="⎻"/>
            </a:pPr>
            <a:r>
              <a:rPr lang="ru-RU" sz="3200" dirty="0">
                <a:solidFill>
                  <a:schemeClr val="bg1"/>
                </a:solidFill>
              </a:rPr>
              <a:t>Одинаково много способностей</a:t>
            </a:r>
          </a:p>
        </p:txBody>
      </p:sp>
    </p:spTree>
    <p:extLst>
      <p:ext uri="{BB962C8B-B14F-4D97-AF65-F5344CB8AC3E}">
        <p14:creationId xmlns:p14="http://schemas.microsoft.com/office/powerpoint/2010/main" val="38486979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5" dur="3000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6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7" dur="3000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8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9" dur="3000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23" dur="2830" fill="hold"/>
                                        <p:tgtEl>
                                          <p:spTgt spid="3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27" dur="5530" fill="hold"/>
                                        <p:tgtEl>
                                          <p:spTgt spid="3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31" dur="3120" fill="hold"/>
                                        <p:tgtEl>
                                          <p:spTgt spid="3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32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3" fill="hold">
                      <p:stCondLst>
                        <p:cond delay="0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36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  <p:seq concurrent="1" nextAc="seek">
              <p:cTn id="37" restart="whenNotActive" fill="hold" evtFilter="cancelBubble" nodeType="interactiveSeq">
                <p:stCondLst>
                  <p:cond evt="onClick" delay="0">
                    <p:tgtEl>
                      <p:spTgt spid="1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8" fill="hold">
                      <p:stCondLst>
                        <p:cond delay="0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41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"/>
                  </p:tgtEl>
                </p:cond>
              </p:nextCondLst>
            </p:seq>
            <p:seq concurrent="1" nextAc="seek">
              <p:cTn id="42" restart="whenNotActive" fill="hold" evtFilter="cancelBubble" nodeType="interactiveSeq">
                <p:stCondLst>
                  <p:cond evt="onClick" delay="0">
                    <p:tgtEl>
                      <p:spTgt spid="1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43" fill="hold">
                      <p:stCondLst>
                        <p:cond delay="0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46" dur="1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2"/>
                  </p:tgtEl>
                </p:cond>
              </p:nextCondLst>
            </p:seq>
            <p:video>
              <p:cMediaNode vol="80000">
                <p:cTn id="47" repeatCount="indefinite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  <p:video>
              <p:cMediaNode vol="80000">
                <p:cTn id="48" repeatCount="indefinite" fill="hold" display="0">
                  <p:stCondLst>
                    <p:cond delay="indefinite"/>
                  </p:stCondLst>
                </p:cTn>
                <p:tgtEl>
                  <p:spTgt spid="11"/>
                </p:tgtEl>
              </p:cMediaNode>
            </p:video>
            <p:video>
              <p:cMediaNode vol="80000">
                <p:cTn id="49" repeatCount="indefinite" fill="hold" display="0">
                  <p:stCondLst>
                    <p:cond delay="indefinite"/>
                  </p:stCondLst>
                </p:cTn>
                <p:tgtEl>
                  <p:spTgt spid="12"/>
                </p:tgtEl>
              </p:cMediaNode>
            </p:video>
            <p:audio>
              <p:cMediaNode vol="80000">
                <p:cTn id="50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3"/>
                </p:tgtEl>
              </p:cMediaNode>
            </p:audio>
            <p:audio>
              <p:cMediaNode vol="80000">
                <p:cTn id="51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4"/>
                </p:tgtEl>
              </p:cMediaNode>
            </p:audio>
            <p:audio>
              <p:cMediaNode vol="80000">
                <p:cTn id="52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5"/>
                </p:tgtEl>
              </p:cMediaNode>
            </p:audio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1AD76500-FBFE-E84B-8AD5-23EAC3D33E3D}"/>
              </a:ext>
            </a:extLst>
          </p:cNvPr>
          <p:cNvSpPr/>
          <p:nvPr/>
        </p:nvSpPr>
        <p:spPr>
          <a:xfrm>
            <a:off x="0" y="0"/>
            <a:ext cx="24382413" cy="13716000"/>
          </a:xfrm>
          <a:prstGeom prst="rect">
            <a:avLst/>
          </a:prstGeom>
          <a:solidFill>
            <a:schemeClr val="tx1"/>
          </a:solidFill>
          <a:ln w="190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ru-RU" sz="3200" dirty="0">
              <a:ln w="0"/>
              <a:solidFill>
                <a:schemeClr val="tx1"/>
              </a:solidFill>
            </a:endParaRPr>
          </a:p>
        </p:txBody>
      </p:sp>
      <p:pic>
        <p:nvPicPr>
          <p:cNvPr id="4" name="Рисунок 6">
            <a:extLst>
              <a:ext uri="{FF2B5EF4-FFF2-40B4-BE49-F238E27FC236}">
                <a16:creationId xmlns:a16="http://schemas.microsoft.com/office/drawing/2014/main" id="{0F445FB7-1030-8846-BF8C-7FDB3DDDDD0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3585189" y="-2356706"/>
            <a:ext cx="2069651" cy="7818683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4">
            <p14:nvContentPartPr>
              <p14:cNvPr id="5" name="Ink 21">
                <a:extLst>
                  <a:ext uri="{FF2B5EF4-FFF2-40B4-BE49-F238E27FC236}">
                    <a16:creationId xmlns:a16="http://schemas.microsoft.com/office/drawing/2014/main" id="{E1529E60-F721-9D46-9D94-833FB69EE6A9}"/>
                  </a:ext>
                </a:extLst>
              </p14:cNvPr>
              <p14:cNvContentPartPr/>
              <p14:nvPr/>
            </p14:nvContentPartPr>
            <p14:xfrm>
              <a:off x="8664853" y="3029231"/>
              <a:ext cx="52221" cy="20111"/>
            </p14:xfrm>
          </p:contentPart>
        </mc:Choice>
        <mc:Fallback>
          <p:pic>
            <p:nvPicPr>
              <p:cNvPr id="5" name="Ink 21">
                <a:extLst>
                  <a:ext uri="{FF2B5EF4-FFF2-40B4-BE49-F238E27FC236}">
                    <a16:creationId xmlns:a16="http://schemas.microsoft.com/office/drawing/2014/main" id="{E1529E60-F721-9D46-9D94-833FB69EE6A9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8660171" y="3024477"/>
                <a:ext cx="61225" cy="29252"/>
              </a:xfrm>
              <a:prstGeom prst="rect">
                <a:avLst/>
              </a:prstGeom>
            </p:spPr>
          </p:pic>
        </mc:Fallback>
      </mc:AlternateContent>
      <p:sp>
        <p:nvSpPr>
          <p:cNvPr id="6" name="TextBox 5">
            <a:extLst>
              <a:ext uri="{FF2B5EF4-FFF2-40B4-BE49-F238E27FC236}">
                <a16:creationId xmlns:a16="http://schemas.microsoft.com/office/drawing/2014/main" id="{F79DF5CF-345B-8D4A-B608-427A8407330B}"/>
              </a:ext>
            </a:extLst>
          </p:cNvPr>
          <p:cNvSpPr txBox="1"/>
          <p:nvPr/>
        </p:nvSpPr>
        <p:spPr>
          <a:xfrm>
            <a:off x="3507594" y="3532594"/>
            <a:ext cx="18570931" cy="41549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828709">
              <a:defRPr/>
            </a:pPr>
            <a:r>
              <a:rPr lang="ru-RU" sz="8800" dirty="0">
                <a:solidFill>
                  <a:schemeClr val="bg1"/>
                </a:solidFill>
                <a:latin typeface="+mj-lt"/>
                <a:sym typeface="SB Sans Text Semibold"/>
              </a:rPr>
              <a:t>Благодарим за внимание и надеемся на плодотворное сотрудничество!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CC13422-6FDD-F745-8484-4A5192664EAE}"/>
              </a:ext>
            </a:extLst>
          </p:cNvPr>
          <p:cNvSpPr txBox="1"/>
          <p:nvPr/>
        </p:nvSpPr>
        <p:spPr>
          <a:xfrm>
            <a:off x="5662038" y="9527472"/>
            <a:ext cx="16416487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7200" dirty="0">
                <a:solidFill>
                  <a:srgbClr val="FEFFFE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Зудин Сергей Геннадьевич</a:t>
            </a:r>
          </a:p>
          <a:p>
            <a:r>
              <a:rPr lang="ru-RU" sz="7200" dirty="0">
                <a:solidFill>
                  <a:srgbClr val="FEFFFE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+7 926 100-60-60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9BA187BE-784D-9645-8744-94CB53B981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5919" y="8632712"/>
            <a:ext cx="3911345" cy="4292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6350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3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31036BFD-B2C0-B045-9DC3-435436693EC8}"/>
              </a:ext>
            </a:extLst>
          </p:cNvPr>
          <p:cNvSpPr/>
          <p:nvPr/>
        </p:nvSpPr>
        <p:spPr>
          <a:xfrm>
            <a:off x="0" y="0"/>
            <a:ext cx="24382413" cy="13716000"/>
          </a:xfrm>
          <a:prstGeom prst="rect">
            <a:avLst/>
          </a:prstGeom>
          <a:solidFill>
            <a:schemeClr val="tx1"/>
          </a:solidFill>
          <a:ln w="190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ru-RU" sz="3200" dirty="0">
              <a:ln w="0"/>
              <a:solidFill>
                <a:schemeClr val="tx1"/>
              </a:solidFill>
            </a:endParaRPr>
          </a:p>
        </p:txBody>
      </p:sp>
      <p:sp>
        <p:nvSpPr>
          <p:cNvPr id="910" name="Текст 1"/>
          <p:cNvSpPr txBox="1"/>
          <p:nvPr/>
        </p:nvSpPr>
        <p:spPr>
          <a:xfrm>
            <a:off x="876512" y="5250618"/>
            <a:ext cx="22568427" cy="165094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91432" tIns="91432" rIns="91432" bIns="91432">
            <a:spAutoFit/>
          </a:bodyPr>
          <a:lstStyle/>
          <a:p>
            <a:pPr algn="ctr" defTabSz="1828899">
              <a:lnSpc>
                <a:spcPct val="90000"/>
              </a:lnSpc>
              <a:defRPr sz="6000" b="1">
                <a:solidFill>
                  <a:srgbClr val="FFFFFF"/>
                </a:solidFill>
                <a:latin typeface="SB Sans Display"/>
                <a:ea typeface="SB Sans Display"/>
                <a:cs typeface="SB Sans Display"/>
                <a:sym typeface="SB Sans Display"/>
              </a:defRPr>
            </a:pPr>
            <a:endParaRPr sz="10587" dirty="0"/>
          </a:p>
        </p:txBody>
      </p:sp>
      <p:sp>
        <p:nvSpPr>
          <p:cNvPr id="5" name="Текст 2">
            <a:extLst>
              <a:ext uri="{FF2B5EF4-FFF2-40B4-BE49-F238E27FC236}">
                <a16:creationId xmlns:a16="http://schemas.microsoft.com/office/drawing/2014/main" id="{754C79EA-DA90-0244-8D74-A9FC730197C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3141" y="491429"/>
            <a:ext cx="21874972" cy="1450882"/>
          </a:xfrm>
        </p:spPr>
        <p:txBody>
          <a:bodyPr/>
          <a:lstStyle/>
          <a:p>
            <a:r>
              <a:rPr lang="ru-RU" altLang="ru-RU" sz="9600" dirty="0">
                <a:gradFill flip="none" rotWithShape="1">
                  <a:gsLst>
                    <a:gs pos="0">
                      <a:srgbClr val="00D756"/>
                    </a:gs>
                    <a:gs pos="99000">
                      <a:srgbClr val="27C6E5"/>
                    </a:gs>
                  </a:gsLst>
                  <a:lin ang="10800000" scaled="1"/>
                  <a:tileRect/>
                </a:gradFill>
                <a:ea typeface="+mn-ea"/>
                <a:cs typeface="+mn-cs"/>
                <a:sym typeface="Helvetica" pitchFamily="2" charset="0"/>
              </a:rPr>
              <a:t>Комплексные решения для госсектора и крупных компаний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FE514A3-813E-4C4B-9ACA-3BEF2DBF04E0}"/>
              </a:ext>
            </a:extLst>
          </p:cNvPr>
          <p:cNvSpPr txBox="1"/>
          <p:nvPr/>
        </p:nvSpPr>
        <p:spPr>
          <a:xfrm>
            <a:off x="11776352" y="4137533"/>
            <a:ext cx="8411418" cy="2369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2400"/>
              </a:spcAft>
            </a:pPr>
            <a:r>
              <a:rPr lang="ru-RU" sz="3200" dirty="0">
                <a:solidFill>
                  <a:schemeClr val="bg1"/>
                </a:solidFill>
              </a:rPr>
              <a:t>Межведомственные коммуникации и взаимодействие с гражданами через ВКС отечественного производства</a:t>
            </a:r>
          </a:p>
          <a:p>
            <a:pPr>
              <a:spcAft>
                <a:spcPts val="2400"/>
              </a:spcAft>
            </a:pPr>
            <a:endParaRPr lang="ru-RU" sz="3200" dirty="0">
              <a:solidFill>
                <a:schemeClr val="bg1"/>
              </a:solidFill>
              <a:latin typeface="SB Sans Display" panose="020B0503040504020204" pitchFamily="34" charset="0"/>
              <a:cs typeface="SB Sans Display" panose="020B0503040504020204" pitchFamily="34" charset="0"/>
              <a:sym typeface="Helvetica" pitchFamily="2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2426E0-897E-B942-A0A0-6E24D698B3F2}"/>
              </a:ext>
            </a:extLst>
          </p:cNvPr>
          <p:cNvSpPr txBox="1"/>
          <p:nvPr/>
        </p:nvSpPr>
        <p:spPr>
          <a:xfrm>
            <a:off x="12812430" y="6515156"/>
            <a:ext cx="9373282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2400"/>
              </a:spcAft>
            </a:pPr>
            <a:r>
              <a:rPr lang="ru-RU" sz="3200" dirty="0">
                <a:solidFill>
                  <a:schemeClr val="bg1"/>
                </a:solidFill>
              </a:rPr>
              <a:t>Уточнение потребностей граждан, запись  на прием, получение справок</a:t>
            </a:r>
            <a:endParaRPr lang="ru-RU" sz="3200" dirty="0">
              <a:solidFill>
                <a:schemeClr val="bg1"/>
              </a:solidFill>
              <a:latin typeface="SB Sans Display" panose="020B0503040504020204" pitchFamily="34" charset="0"/>
              <a:cs typeface="SB Sans Display" panose="020B0503040504020204" pitchFamily="34" charset="0"/>
              <a:sym typeface="Helvetica" pitchFamily="2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89A2D8-C4B5-0E44-8692-C98C95FBD605}"/>
              </a:ext>
            </a:extLst>
          </p:cNvPr>
          <p:cNvSpPr txBox="1"/>
          <p:nvPr/>
        </p:nvSpPr>
        <p:spPr>
          <a:xfrm>
            <a:off x="12812430" y="8781086"/>
            <a:ext cx="8299904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2400"/>
              </a:spcAft>
            </a:pPr>
            <a:r>
              <a:rPr lang="ru-RU" altLang="ru-RU" sz="3200" dirty="0" err="1">
                <a:solidFill>
                  <a:schemeClr val="bg1"/>
                </a:solidFill>
                <a:sym typeface="Helvetica" pitchFamily="2" charset="0"/>
              </a:rPr>
              <a:t>Мультиплатформенные</a:t>
            </a:r>
            <a:r>
              <a:rPr lang="ru-RU" altLang="ru-RU" sz="3200" dirty="0">
                <a:solidFill>
                  <a:schemeClr val="bg1"/>
                </a:solidFill>
                <a:sym typeface="Helvetica" pitchFamily="2" charset="0"/>
              </a:rPr>
              <a:t> продукты– работают на смартфонах, компьютерах и специализированных устройствах</a:t>
            </a:r>
            <a:endParaRPr lang="ru-RU" sz="3200" dirty="0">
              <a:solidFill>
                <a:schemeClr val="bg1"/>
              </a:solidFill>
              <a:sym typeface="Helvetica" pitchFamily="2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0CE0B76-578B-4945-A950-77C6A00D72B3}"/>
              </a:ext>
            </a:extLst>
          </p:cNvPr>
          <p:cNvSpPr txBox="1"/>
          <p:nvPr/>
        </p:nvSpPr>
        <p:spPr>
          <a:xfrm>
            <a:off x="11660824" y="11271371"/>
            <a:ext cx="9940777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3200" dirty="0">
                <a:solidFill>
                  <a:schemeClr val="bg1"/>
                </a:solidFill>
              </a:rPr>
              <a:t>Сбор статистики по обращениям. Исходящая коммуникация со сбором и анализом данных.</a:t>
            </a:r>
          </a:p>
          <a:p>
            <a:pPr>
              <a:spcAft>
                <a:spcPts val="2400"/>
              </a:spcAft>
            </a:pPr>
            <a:endParaRPr lang="ru-RU" sz="3200" dirty="0">
              <a:solidFill>
                <a:schemeClr val="bg1"/>
              </a:solidFill>
              <a:latin typeface="SB Sans Display" panose="020B0503040504020204" pitchFamily="34" charset="0"/>
              <a:cs typeface="SB Sans Display" panose="020B0503040504020204" pitchFamily="34" charset="0"/>
              <a:sym typeface="Helvetica" pitchFamily="2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7811870-5F13-A047-94DF-1F6ACB949DAB}"/>
              </a:ext>
            </a:extLst>
          </p:cNvPr>
          <p:cNvSpPr txBox="1"/>
          <p:nvPr/>
        </p:nvSpPr>
        <p:spPr>
          <a:xfrm>
            <a:off x="1601842" y="6687165"/>
            <a:ext cx="8411418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2400"/>
              </a:spcAft>
            </a:pPr>
            <a:r>
              <a:rPr lang="ru-RU" dirty="0">
                <a:solidFill>
                  <a:schemeClr val="bg1"/>
                </a:solidFill>
              </a:rPr>
              <a:t>Мы предлагаем комплекс продуктов для всесторонней автоматизации процессов взаимодействия с гражданами, в том числе:</a:t>
            </a:r>
            <a:endParaRPr lang="ru-RU" dirty="0">
              <a:solidFill>
                <a:schemeClr val="bg1"/>
              </a:solidFill>
              <a:sym typeface="Helvetica" pitchFamily="2" charset="0"/>
            </a:endParaRPr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B14F27DE-54B0-AE4F-9A84-B6EBBAD89DEA}"/>
              </a:ext>
            </a:extLst>
          </p:cNvPr>
          <p:cNvGrpSpPr/>
          <p:nvPr/>
        </p:nvGrpSpPr>
        <p:grpSpPr>
          <a:xfrm>
            <a:off x="876512" y="2813705"/>
            <a:ext cx="11659837" cy="11295019"/>
            <a:chOff x="410505" y="1854993"/>
            <a:chExt cx="11660595" cy="11295754"/>
          </a:xfrm>
        </p:grpSpPr>
        <p:sp>
          <p:nvSpPr>
            <p:cNvPr id="12" name="Дуга 11">
              <a:extLst>
                <a:ext uri="{FF2B5EF4-FFF2-40B4-BE49-F238E27FC236}">
                  <a16:creationId xmlns:a16="http://schemas.microsoft.com/office/drawing/2014/main" id="{2DB0BCDF-8E29-384F-AF64-D954DA5DB128}"/>
                </a:ext>
              </a:extLst>
            </p:cNvPr>
            <p:cNvSpPr/>
            <p:nvPr/>
          </p:nvSpPr>
          <p:spPr>
            <a:xfrm>
              <a:off x="410505" y="1854993"/>
              <a:ext cx="11295754" cy="11295754"/>
            </a:xfrm>
            <a:prstGeom prst="arc">
              <a:avLst>
                <a:gd name="adj1" fmla="val 17725028"/>
                <a:gd name="adj2" fmla="val 3846793"/>
              </a:avLst>
            </a:prstGeom>
            <a:ln w="50800" cap="rnd">
              <a:solidFill>
                <a:srgbClr val="212F3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2400"/>
            </a:p>
          </p:txBody>
        </p:sp>
        <p:sp>
          <p:nvSpPr>
            <p:cNvPr id="13" name="Овал 12">
              <a:extLst>
                <a:ext uri="{FF2B5EF4-FFF2-40B4-BE49-F238E27FC236}">
                  <a16:creationId xmlns:a16="http://schemas.microsoft.com/office/drawing/2014/main" id="{27C17D9F-289B-FA41-854B-81463D1B91F3}"/>
                </a:ext>
              </a:extLst>
            </p:cNvPr>
            <p:cNvSpPr/>
            <p:nvPr/>
          </p:nvSpPr>
          <p:spPr>
            <a:xfrm>
              <a:off x="9859846" y="3218018"/>
              <a:ext cx="875582" cy="875582"/>
            </a:xfrm>
            <a:prstGeom prst="ellipse">
              <a:avLst/>
            </a:prstGeom>
            <a:solidFill>
              <a:srgbClr val="212F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dirty="0">
                  <a:solidFill>
                    <a:schemeClr val="bg1"/>
                  </a:solidFill>
                  <a:latin typeface="SB Sans Display" panose="020B0503040504020204" pitchFamily="34" charset="0"/>
                  <a:cs typeface="SB Sans Display" panose="020B0503040504020204" pitchFamily="34" charset="0"/>
                </a:rPr>
                <a:t>1</a:t>
              </a:r>
              <a:endParaRPr lang="ru-RU" sz="2400" dirty="0">
                <a:solidFill>
                  <a:schemeClr val="bg1"/>
                </a:solidFill>
                <a:latin typeface="SB Sans Display" panose="020B0503040504020204" pitchFamily="34" charset="0"/>
                <a:cs typeface="SB Sans Display" panose="020B0503040504020204" pitchFamily="34" charset="0"/>
              </a:endParaRPr>
            </a:p>
          </p:txBody>
        </p:sp>
        <p:sp>
          <p:nvSpPr>
            <p:cNvPr id="14" name="Овал 13">
              <a:extLst>
                <a:ext uri="{FF2B5EF4-FFF2-40B4-BE49-F238E27FC236}">
                  <a16:creationId xmlns:a16="http://schemas.microsoft.com/office/drawing/2014/main" id="{07873E5D-9CC1-6A43-98F6-C7FC25E7848E}"/>
                </a:ext>
              </a:extLst>
            </p:cNvPr>
            <p:cNvSpPr/>
            <p:nvPr/>
          </p:nvSpPr>
          <p:spPr>
            <a:xfrm>
              <a:off x="11195518" y="5759203"/>
              <a:ext cx="875582" cy="875582"/>
            </a:xfrm>
            <a:prstGeom prst="ellipse">
              <a:avLst/>
            </a:prstGeom>
            <a:solidFill>
              <a:srgbClr val="212F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400" dirty="0">
                  <a:solidFill>
                    <a:schemeClr val="bg1"/>
                  </a:solidFill>
                  <a:latin typeface="SB Sans Display" panose="020B0503040504020204" pitchFamily="34" charset="0"/>
                  <a:cs typeface="SB Sans Display" panose="020B0503040504020204" pitchFamily="34" charset="0"/>
                </a:rPr>
                <a:t>2</a:t>
              </a:r>
            </a:p>
          </p:txBody>
        </p:sp>
        <p:sp>
          <p:nvSpPr>
            <p:cNvPr id="16" name="Овал 15">
              <a:extLst>
                <a:ext uri="{FF2B5EF4-FFF2-40B4-BE49-F238E27FC236}">
                  <a16:creationId xmlns:a16="http://schemas.microsoft.com/office/drawing/2014/main" id="{D173D49C-309A-0B46-9003-57798098DEF8}"/>
                </a:ext>
              </a:extLst>
            </p:cNvPr>
            <p:cNvSpPr/>
            <p:nvPr/>
          </p:nvSpPr>
          <p:spPr>
            <a:xfrm>
              <a:off x="11195518" y="8169853"/>
              <a:ext cx="875582" cy="875582"/>
            </a:xfrm>
            <a:prstGeom prst="ellipse">
              <a:avLst/>
            </a:prstGeom>
            <a:solidFill>
              <a:srgbClr val="212F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400" dirty="0">
                  <a:solidFill>
                    <a:schemeClr val="bg1"/>
                  </a:solidFill>
                  <a:latin typeface="SB Sans Display" panose="020B0503040504020204" pitchFamily="34" charset="0"/>
                  <a:cs typeface="SB Sans Display" panose="020B0503040504020204" pitchFamily="34" charset="0"/>
                </a:rPr>
                <a:t>3</a:t>
              </a:r>
            </a:p>
          </p:txBody>
        </p:sp>
        <p:sp>
          <p:nvSpPr>
            <p:cNvPr id="17" name="Овал 16">
              <a:extLst>
                <a:ext uri="{FF2B5EF4-FFF2-40B4-BE49-F238E27FC236}">
                  <a16:creationId xmlns:a16="http://schemas.microsoft.com/office/drawing/2014/main" id="{F5954A39-46A1-8344-B1E8-DDF12FF827FE}"/>
                </a:ext>
              </a:extLst>
            </p:cNvPr>
            <p:cNvSpPr/>
            <p:nvPr/>
          </p:nvSpPr>
          <p:spPr>
            <a:xfrm>
              <a:off x="9859846" y="10758394"/>
              <a:ext cx="875582" cy="875582"/>
            </a:xfrm>
            <a:prstGeom prst="ellipse">
              <a:avLst/>
            </a:prstGeom>
            <a:solidFill>
              <a:srgbClr val="212F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400" dirty="0">
                  <a:solidFill>
                    <a:schemeClr val="bg1"/>
                  </a:solidFill>
                  <a:latin typeface="SB Sans Display" panose="020B0503040504020204" pitchFamily="34" charset="0"/>
                  <a:cs typeface="SB Sans Display" panose="020B0503040504020204" pitchFamily="34" charset="0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20688380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Скругленный прямоугольник 33">
            <a:extLst>
              <a:ext uri="{FF2B5EF4-FFF2-40B4-BE49-F238E27FC236}">
                <a16:creationId xmlns:a16="http://schemas.microsoft.com/office/drawing/2014/main" id="{B9B0544F-AB98-AC48-B65C-B3923D74825E}"/>
              </a:ext>
            </a:extLst>
          </p:cNvPr>
          <p:cNvSpPr/>
          <p:nvPr/>
        </p:nvSpPr>
        <p:spPr>
          <a:xfrm>
            <a:off x="6766046" y="6296227"/>
            <a:ext cx="11581681" cy="2190607"/>
          </a:xfrm>
          <a:prstGeom prst="roundRect">
            <a:avLst>
              <a:gd name="adj" fmla="val 32965"/>
            </a:avLst>
          </a:pr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94" tIns="215986" rIns="89994" bIns="215986" rtlCol="0" anchor="ctr" anchorCtr="0"/>
          <a:lstStyle/>
          <a:p>
            <a:pPr algn="ctr">
              <a:lnSpc>
                <a:spcPct val="90000"/>
              </a:lnSpc>
            </a:pPr>
            <a:endParaRPr lang="ru-RU" sz="3200" dirty="0">
              <a:ln w="0"/>
              <a:solidFill>
                <a:schemeClr val="tx1"/>
              </a:solidFill>
            </a:endParaRPr>
          </a:p>
        </p:txBody>
      </p:sp>
      <p:pic>
        <p:nvPicPr>
          <p:cNvPr id="78" name="Picture 2">
            <a:extLst>
              <a:ext uri="{FF2B5EF4-FFF2-40B4-BE49-F238E27FC236}">
                <a16:creationId xmlns:a16="http://schemas.microsoft.com/office/drawing/2014/main" id="{59C87ECC-717C-FE47-8266-3E2C57C78E9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660" r="27492"/>
          <a:stretch/>
        </p:blipFill>
        <p:spPr bwMode="auto">
          <a:xfrm>
            <a:off x="7018506" y="6686487"/>
            <a:ext cx="1844540" cy="2056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Скругленный прямоугольник 30">
            <a:extLst>
              <a:ext uri="{FF2B5EF4-FFF2-40B4-BE49-F238E27FC236}">
                <a16:creationId xmlns:a16="http://schemas.microsoft.com/office/drawing/2014/main" id="{7B7432B5-19CE-D540-9F20-F8A2F768D2B8}"/>
              </a:ext>
            </a:extLst>
          </p:cNvPr>
          <p:cNvSpPr/>
          <p:nvPr/>
        </p:nvSpPr>
        <p:spPr>
          <a:xfrm>
            <a:off x="3546603" y="3686167"/>
            <a:ext cx="11581681" cy="2190607"/>
          </a:xfrm>
          <a:prstGeom prst="roundRect">
            <a:avLst>
              <a:gd name="adj" fmla="val 32568"/>
            </a:avLst>
          </a:prstGeom>
          <a:solidFill>
            <a:srgbClr val="161F2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94" tIns="215986" rIns="89994" bIns="215986" rtlCol="0" anchor="ctr" anchorCtr="0"/>
          <a:lstStyle/>
          <a:p>
            <a:pPr algn="ctr">
              <a:lnSpc>
                <a:spcPct val="90000"/>
              </a:lnSpc>
            </a:pPr>
            <a:endParaRPr lang="ru-RU" sz="3200" dirty="0">
              <a:ln w="0"/>
              <a:solidFill>
                <a:schemeClr val="tx1"/>
              </a:solidFill>
            </a:endParaRP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BE326A8B-1F9A-6A41-B73D-6D065FDE513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altLang="ru-RU" sz="11999" dirty="0">
                <a:gradFill flip="none" rotWithShape="1">
                  <a:gsLst>
                    <a:gs pos="0">
                      <a:srgbClr val="00D756"/>
                    </a:gs>
                    <a:gs pos="99000">
                      <a:srgbClr val="27C6E5"/>
                    </a:gs>
                  </a:gsLst>
                  <a:lin ang="10800000" scaled="1"/>
                  <a:tileRect/>
                </a:gradFill>
                <a:sym typeface="Helvetica" pitchFamily="2" charset="0"/>
              </a:rPr>
              <a:t>Наши продукты</a:t>
            </a:r>
          </a:p>
        </p:txBody>
      </p:sp>
      <p:sp>
        <p:nvSpPr>
          <p:cNvPr id="37" name="Text Box 3">
            <a:extLst>
              <a:ext uri="{FF2B5EF4-FFF2-40B4-BE49-F238E27FC236}">
                <a16:creationId xmlns:a16="http://schemas.microsoft.com/office/drawing/2014/main" id="{38F165C8-01DD-6746-9ABB-79ABA81C0B89}"/>
              </a:ext>
            </a:extLst>
          </p:cNvPr>
          <p:cNvSpPr txBox="1"/>
          <p:nvPr/>
        </p:nvSpPr>
        <p:spPr>
          <a:xfrm>
            <a:off x="5730959" y="5062355"/>
            <a:ext cx="10246645" cy="78995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398" tIns="25398" rIns="25398" bIns="25398">
            <a:spAutoFit/>
          </a:bodyPr>
          <a:lstStyle/>
          <a:p>
            <a:pPr>
              <a:defRPr sz="3200">
                <a:solidFill>
                  <a:srgbClr val="FFFFFF"/>
                </a:solidFill>
                <a:latin typeface="SB Sans Display"/>
                <a:ea typeface="SB Sans Display"/>
                <a:cs typeface="SB Sans Display"/>
                <a:sym typeface="SB Sans Display"/>
              </a:defRPr>
            </a:pPr>
            <a:r>
              <a:rPr lang="ru-RU" altLang="ru-RU" sz="2400" dirty="0">
                <a:solidFill>
                  <a:srgbClr val="C2C2C6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" pitchFamily="2" charset="0"/>
              </a:rPr>
              <a:t>Безопасные видеоконференции </a:t>
            </a:r>
            <a:br>
              <a:rPr lang="ru-RU" altLang="ru-RU" sz="2400" dirty="0">
                <a:solidFill>
                  <a:srgbClr val="C2C2C6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" pitchFamily="2" charset="0"/>
              </a:rPr>
            </a:br>
            <a:r>
              <a:rPr lang="ru-RU" altLang="ru-RU" sz="2400" dirty="0">
                <a:solidFill>
                  <a:srgbClr val="C2C2C6"/>
                </a:solidFill>
                <a:latin typeface="Arial" panose="020B0604020202020204" pitchFamily="34" charset="0"/>
                <a:cs typeface="Arial" panose="020B0604020202020204" pitchFamily="34" charset="0"/>
                <a:sym typeface="Helvetica" pitchFamily="2" charset="0"/>
              </a:rPr>
              <a:t>для организации рабочего процесса и общения</a:t>
            </a:r>
          </a:p>
        </p:txBody>
      </p:sp>
      <p:sp>
        <p:nvSpPr>
          <p:cNvPr id="38" name="Text Box 3">
            <a:extLst>
              <a:ext uri="{FF2B5EF4-FFF2-40B4-BE49-F238E27FC236}">
                <a16:creationId xmlns:a16="http://schemas.microsoft.com/office/drawing/2014/main" id="{2B70344F-79B3-1047-8FE0-0DBFD6B4A4D1}"/>
              </a:ext>
            </a:extLst>
          </p:cNvPr>
          <p:cNvSpPr txBox="1"/>
          <p:nvPr/>
        </p:nvSpPr>
        <p:spPr>
          <a:xfrm>
            <a:off x="5730959" y="3565249"/>
            <a:ext cx="6825928" cy="1816712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398" tIns="25398" rIns="25398" bIns="25398">
            <a:spAutoFit/>
          </a:bodyPr>
          <a:lstStyle>
            <a:lvl1pPr>
              <a:lnSpc>
                <a:spcPct val="130000"/>
              </a:lnSpc>
              <a:defRPr sz="11000">
                <a:solidFill>
                  <a:srgbClr val="FEFFFF"/>
                </a:solidFill>
                <a:latin typeface="SB Sans Display"/>
                <a:ea typeface="SB Sans Display"/>
                <a:cs typeface="SB Sans Display"/>
                <a:sym typeface="SB Sans Display"/>
              </a:defRPr>
            </a:lvl1pPr>
          </a:lstStyle>
          <a:p>
            <a:r>
              <a:rPr lang="en-US" sz="9600" dirty="0" err="1">
                <a:solidFill>
                  <a:schemeClr val="bg1"/>
                </a:solidFill>
              </a:rPr>
              <a:t>Sber</a:t>
            </a:r>
            <a:r>
              <a:rPr sz="9600" dirty="0" err="1">
                <a:solidFill>
                  <a:schemeClr val="bg1"/>
                </a:solidFill>
              </a:rPr>
              <a:t>Jazz</a:t>
            </a:r>
            <a:endParaRPr sz="9600" dirty="0">
              <a:solidFill>
                <a:schemeClr val="bg1"/>
              </a:solidFill>
            </a:endParaRPr>
          </a:p>
        </p:txBody>
      </p:sp>
      <p:sp>
        <p:nvSpPr>
          <p:cNvPr id="61" name="Text Box 3">
            <a:extLst>
              <a:ext uri="{FF2B5EF4-FFF2-40B4-BE49-F238E27FC236}">
                <a16:creationId xmlns:a16="http://schemas.microsoft.com/office/drawing/2014/main" id="{2625DB0C-6061-CB41-9250-FB661B45B183}"/>
              </a:ext>
            </a:extLst>
          </p:cNvPr>
          <p:cNvSpPr txBox="1"/>
          <p:nvPr/>
        </p:nvSpPr>
        <p:spPr>
          <a:xfrm>
            <a:off x="8935099" y="7872813"/>
            <a:ext cx="7936219" cy="420624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398" tIns="25398" rIns="25398" bIns="25398">
            <a:spAutoFit/>
          </a:bodyPr>
          <a:lstStyle/>
          <a:p>
            <a:r>
              <a:rPr lang="ru-RU" altLang="ru-RU" sz="2400" dirty="0">
                <a:solidFill>
                  <a:schemeClr val="accent5">
                    <a:lumMod val="60000"/>
                    <a:lumOff val="40000"/>
                  </a:schemeClr>
                </a:solidFill>
                <a:latin typeface="SB Sans Display" panose="020B0503040504020204" pitchFamily="34" charset="0"/>
                <a:cs typeface="SB Sans Display" panose="020B0503040504020204" pitchFamily="34" charset="0"/>
                <a:sym typeface="Helvetica" pitchFamily="2" charset="0"/>
              </a:rPr>
              <a:t>Автоматизация обработки обращений граждан</a:t>
            </a:r>
            <a:endParaRPr lang="ru-RU" sz="2400" dirty="0">
              <a:solidFill>
                <a:schemeClr val="accent5">
                  <a:lumMod val="60000"/>
                  <a:lumOff val="40000"/>
                </a:schemeClr>
              </a:solidFill>
              <a:latin typeface="SB Sans Display" panose="020B0503040504020204" pitchFamily="34" charset="0"/>
              <a:cs typeface="SB Sans Display" panose="020B0503040504020204" pitchFamily="34" charset="0"/>
            </a:endParaRPr>
          </a:p>
        </p:txBody>
      </p:sp>
      <p:sp>
        <p:nvSpPr>
          <p:cNvPr id="62" name="Text Box 3">
            <a:extLst>
              <a:ext uri="{FF2B5EF4-FFF2-40B4-BE49-F238E27FC236}">
                <a16:creationId xmlns:a16="http://schemas.microsoft.com/office/drawing/2014/main" id="{E475CC5B-1CFB-864C-B2E0-39B7CACD931D}"/>
              </a:ext>
            </a:extLst>
          </p:cNvPr>
          <p:cNvSpPr txBox="1"/>
          <p:nvPr/>
        </p:nvSpPr>
        <p:spPr>
          <a:xfrm>
            <a:off x="8950400" y="6193267"/>
            <a:ext cx="6004325" cy="1816712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25398" tIns="25398" rIns="25398" bIns="25398">
            <a:spAutoFit/>
          </a:bodyPr>
          <a:lstStyle>
            <a:lvl1pPr>
              <a:lnSpc>
                <a:spcPct val="130000"/>
              </a:lnSpc>
              <a:defRPr sz="11000">
                <a:solidFill>
                  <a:srgbClr val="FEFFFF"/>
                </a:solidFill>
                <a:latin typeface="SB Sans Display"/>
                <a:ea typeface="SB Sans Display"/>
                <a:cs typeface="SB Sans Display"/>
                <a:sym typeface="SB Sans Display"/>
              </a:defRPr>
            </a:lvl1pPr>
          </a:lstStyle>
          <a:p>
            <a:r>
              <a:rPr lang="en-US" sz="9600" dirty="0" err="1">
                <a:solidFill>
                  <a:srgbClr val="212F33"/>
                </a:solidFill>
              </a:rPr>
              <a:t>SaluteBot</a:t>
            </a:r>
            <a:endParaRPr lang="en" sz="9600" dirty="0">
              <a:solidFill>
                <a:srgbClr val="212F33"/>
              </a:solidFill>
            </a:endParaRPr>
          </a:p>
        </p:txBody>
      </p:sp>
      <p:sp>
        <p:nvSpPr>
          <p:cNvPr id="27" name="Скругленный прямоугольник 26">
            <a:extLst>
              <a:ext uri="{FF2B5EF4-FFF2-40B4-BE49-F238E27FC236}">
                <a16:creationId xmlns:a16="http://schemas.microsoft.com/office/drawing/2014/main" id="{F80580A0-1F8D-E946-9AD9-AB3E36A1A6F4}"/>
              </a:ext>
            </a:extLst>
          </p:cNvPr>
          <p:cNvSpPr/>
          <p:nvPr/>
        </p:nvSpPr>
        <p:spPr>
          <a:xfrm>
            <a:off x="10672459" y="9108075"/>
            <a:ext cx="11581681" cy="2190607"/>
          </a:xfrm>
          <a:prstGeom prst="roundRect">
            <a:avLst>
              <a:gd name="adj" fmla="val 32965"/>
            </a:avLst>
          </a:prstGeom>
          <a:solidFill>
            <a:srgbClr val="161F2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994" tIns="215986" rIns="89994" bIns="215986" rtlCol="0" anchor="ctr" anchorCtr="0"/>
          <a:lstStyle/>
          <a:p>
            <a:pPr algn="ctr">
              <a:lnSpc>
                <a:spcPct val="90000"/>
              </a:lnSpc>
            </a:pPr>
            <a:endParaRPr lang="ru-RU" sz="3200" dirty="0">
              <a:ln w="0"/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8" name="Picture 2">
            <a:extLst>
              <a:ext uri="{FF2B5EF4-FFF2-40B4-BE49-F238E27FC236}">
                <a16:creationId xmlns:a16="http://schemas.microsoft.com/office/drawing/2014/main" id="{379FD3CC-12D5-9C43-A693-CD0159B633A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760"/>
          <a:stretch/>
        </p:blipFill>
        <p:spPr bwMode="auto">
          <a:xfrm>
            <a:off x="10989274" y="9597387"/>
            <a:ext cx="1524601" cy="12119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 Box 3">
            <a:extLst>
              <a:ext uri="{FF2B5EF4-FFF2-40B4-BE49-F238E27FC236}">
                <a16:creationId xmlns:a16="http://schemas.microsoft.com/office/drawing/2014/main" id="{73372F1E-CC29-0741-988B-5D59D88BE651}"/>
              </a:ext>
            </a:extLst>
          </p:cNvPr>
          <p:cNvSpPr txBox="1"/>
          <p:nvPr/>
        </p:nvSpPr>
        <p:spPr>
          <a:xfrm>
            <a:off x="12825422" y="10578193"/>
            <a:ext cx="7909267" cy="324893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398" tIns="25398" rIns="25398" bIns="25398">
            <a:spAutoFit/>
          </a:bodyPr>
          <a:lstStyle/>
          <a:p>
            <a:pPr>
              <a:lnSpc>
                <a:spcPts val="2000"/>
              </a:lnSpc>
              <a:defRPr sz="3200">
                <a:solidFill>
                  <a:srgbClr val="FFFFFF"/>
                </a:solidFill>
                <a:latin typeface="SB Sans Display"/>
                <a:ea typeface="SB Sans Display"/>
                <a:cs typeface="SB Sans Display"/>
                <a:sym typeface="SB Sans Display"/>
              </a:defRPr>
            </a:pPr>
            <a:r>
              <a:rPr lang="ru-RU" altLang="ru-RU" sz="2400" dirty="0">
                <a:solidFill>
                  <a:srgbClr val="C2C2C6"/>
                </a:solidFill>
                <a:sym typeface="Helvetica" pitchFamily="2" charset="0"/>
              </a:rPr>
              <a:t>Технологии распознавания и синтеза речи</a:t>
            </a:r>
            <a:endParaRPr lang="ru-RU" sz="2400" dirty="0">
              <a:solidFill>
                <a:srgbClr val="C2C2C6"/>
              </a:solidFill>
            </a:endParaRPr>
          </a:p>
        </p:txBody>
      </p:sp>
      <p:sp>
        <p:nvSpPr>
          <p:cNvPr id="30" name="Text Box 3">
            <a:extLst>
              <a:ext uri="{FF2B5EF4-FFF2-40B4-BE49-F238E27FC236}">
                <a16:creationId xmlns:a16="http://schemas.microsoft.com/office/drawing/2014/main" id="{1C80C206-92E1-9741-9711-C63C92A6536A}"/>
              </a:ext>
            </a:extLst>
          </p:cNvPr>
          <p:cNvSpPr txBox="1"/>
          <p:nvPr/>
        </p:nvSpPr>
        <p:spPr>
          <a:xfrm>
            <a:off x="12796757" y="8927768"/>
            <a:ext cx="8275437" cy="1771891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398" tIns="25398" rIns="25398" bIns="25398">
            <a:spAutoFit/>
          </a:bodyPr>
          <a:lstStyle>
            <a:lvl1pPr>
              <a:lnSpc>
                <a:spcPct val="130000"/>
              </a:lnSpc>
              <a:defRPr sz="11000">
                <a:solidFill>
                  <a:srgbClr val="FEFFFF"/>
                </a:solidFill>
                <a:latin typeface="SB Sans Display"/>
                <a:ea typeface="SB Sans Display"/>
                <a:cs typeface="SB Sans Display"/>
                <a:sym typeface="SB Sans Display"/>
              </a:defRPr>
            </a:lvl1pPr>
          </a:lstStyle>
          <a:p>
            <a:r>
              <a:rPr lang="en" sz="9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luteSpeech</a:t>
            </a:r>
            <a:endParaRPr lang="en" sz="9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86E99D3B-952E-5943-B38E-3F398525BF4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82877" y="4025564"/>
            <a:ext cx="1511810" cy="1511810"/>
          </a:xfrm>
          <a:prstGeom prst="roundRect">
            <a:avLst/>
          </a:prstGeom>
        </p:spPr>
      </p:pic>
    </p:spTree>
    <p:extLst>
      <p:ext uri="{BB962C8B-B14F-4D97-AF65-F5344CB8AC3E}">
        <p14:creationId xmlns:p14="http://schemas.microsoft.com/office/powerpoint/2010/main" val="41104143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D2D38120-BF11-3A49-BAFC-018B8AC34E6A}"/>
              </a:ext>
            </a:extLst>
          </p:cNvPr>
          <p:cNvSpPr/>
          <p:nvPr/>
        </p:nvSpPr>
        <p:spPr>
          <a:xfrm>
            <a:off x="0" y="0"/>
            <a:ext cx="24382413" cy="13716000"/>
          </a:xfrm>
          <a:prstGeom prst="rect">
            <a:avLst/>
          </a:prstGeom>
          <a:solidFill>
            <a:schemeClr val="bg1"/>
          </a:solidFill>
          <a:ln w="190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ru-RU" sz="3200" dirty="0">
              <a:ln w="0"/>
              <a:solidFill>
                <a:schemeClr val="tx1"/>
              </a:solidFill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3A269583-892F-7945-A158-FC386B22AD8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503" t="1203" r="4440" b="578"/>
          <a:stretch/>
        </p:blipFill>
        <p:spPr>
          <a:xfrm>
            <a:off x="58857" y="3999819"/>
            <a:ext cx="14872717" cy="9152012"/>
          </a:xfrm>
          <a:prstGeom prst="roundRect">
            <a:avLst>
              <a:gd name="adj" fmla="val 3350"/>
            </a:avLst>
          </a:prstGeom>
        </p:spPr>
      </p:pic>
      <p:grpSp>
        <p:nvGrpSpPr>
          <p:cNvPr id="54" name="Group 53">
            <a:extLst>
              <a:ext uri="{FF2B5EF4-FFF2-40B4-BE49-F238E27FC236}">
                <a16:creationId xmlns:a16="http://schemas.microsoft.com/office/drawing/2014/main" id="{B93C92DB-20AD-2C42-A26F-78E6D8C262C9}"/>
              </a:ext>
            </a:extLst>
          </p:cNvPr>
          <p:cNvGrpSpPr/>
          <p:nvPr/>
        </p:nvGrpSpPr>
        <p:grpSpPr>
          <a:xfrm>
            <a:off x="15284422" y="3994293"/>
            <a:ext cx="8501917" cy="8137616"/>
            <a:chOff x="7116844" y="1647857"/>
            <a:chExt cx="4251235" cy="4069073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5C1C2454-16FA-5742-9FA6-A4A8423C9CB5}"/>
                </a:ext>
              </a:extLst>
            </p:cNvPr>
            <p:cNvSpPr/>
            <p:nvPr/>
          </p:nvSpPr>
          <p:spPr>
            <a:xfrm>
              <a:off x="7492765" y="1679665"/>
              <a:ext cx="3875314" cy="40372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Aft>
                  <a:spcPts val="4000"/>
                </a:spcAft>
              </a:pPr>
              <a:r>
                <a:rPr lang="ru-RU" sz="2800" b="1" dirty="0">
                  <a:solidFill>
                    <a:srgbClr val="CDCDCD"/>
                  </a:solidFill>
                  <a:sym typeface="Arial"/>
                </a:rPr>
                <a:t>Встречи до 200 участников одновременно</a:t>
              </a:r>
              <a:endParaRPr lang="en-US" sz="2800" b="1" dirty="0">
                <a:solidFill>
                  <a:srgbClr val="CDCDCD"/>
                </a:solidFill>
                <a:sym typeface="Arial"/>
              </a:endParaRPr>
            </a:p>
            <a:p>
              <a:pPr>
                <a:spcAft>
                  <a:spcPts val="4000"/>
                </a:spcAft>
              </a:pPr>
              <a:r>
                <a:rPr lang="ru-RU" sz="2800" b="1" dirty="0">
                  <a:solidFill>
                    <a:srgbClr val="CDCDCD"/>
                  </a:solidFill>
                  <a:sym typeface="Arial"/>
                </a:rPr>
                <a:t>Мгновенная </a:t>
              </a:r>
              <a:r>
                <a:rPr lang="ru-RU" sz="2800" b="1" dirty="0" err="1">
                  <a:solidFill>
                    <a:srgbClr val="CDCDCD"/>
                  </a:solidFill>
                  <a:sym typeface="Arial"/>
                </a:rPr>
                <a:t>транскрибация</a:t>
              </a:r>
              <a:r>
                <a:rPr lang="ru-RU" sz="2800" b="1" dirty="0">
                  <a:solidFill>
                    <a:srgbClr val="CDCDCD"/>
                  </a:solidFill>
                  <a:sym typeface="Arial"/>
                </a:rPr>
                <a:t> встреч</a:t>
              </a:r>
              <a:endParaRPr lang="ru-RU" sz="2800" b="1" dirty="0">
                <a:solidFill>
                  <a:srgbClr val="CDCDCD"/>
                </a:solidFill>
              </a:endParaRPr>
            </a:p>
            <a:p>
              <a:pPr>
                <a:spcAft>
                  <a:spcPts val="4000"/>
                </a:spcAft>
              </a:pPr>
              <a:r>
                <a:rPr lang="ru-RU" sz="2800" b="1" dirty="0">
                  <a:solidFill>
                    <a:srgbClr val="CDCDCD"/>
                  </a:solidFill>
                </a:rPr>
                <a:t>Есть свое приложение и </a:t>
              </a:r>
              <a:r>
                <a:rPr lang="en-US" sz="2800" b="1" dirty="0">
                  <a:solidFill>
                    <a:srgbClr val="CDCDCD"/>
                  </a:solidFill>
                </a:rPr>
                <a:t>SDK</a:t>
              </a:r>
              <a:endParaRPr lang="ru-RU" sz="2800" b="1" dirty="0">
                <a:solidFill>
                  <a:srgbClr val="CDCDCD"/>
                </a:solidFill>
              </a:endParaRPr>
            </a:p>
            <a:p>
              <a:pPr>
                <a:spcAft>
                  <a:spcPts val="4000"/>
                </a:spcAft>
              </a:pPr>
              <a:r>
                <a:rPr lang="ru-RU" altLang="ru-RU" sz="2800" b="1" dirty="0">
                  <a:solidFill>
                    <a:srgbClr val="CDCDCD"/>
                  </a:solidFill>
                </a:rPr>
                <a:t>Чат во время конференции </a:t>
              </a:r>
            </a:p>
            <a:p>
              <a:pPr>
                <a:spcAft>
                  <a:spcPts val="4000"/>
                </a:spcAft>
              </a:pPr>
              <a:r>
                <a:rPr lang="ru-RU" sz="2800" b="1" dirty="0">
                  <a:solidFill>
                    <a:srgbClr val="CDCDCD"/>
                  </a:solidFill>
                </a:rPr>
                <a:t>Автоматическое определение спикера</a:t>
              </a:r>
            </a:p>
            <a:p>
              <a:pPr>
                <a:spcAft>
                  <a:spcPts val="4000"/>
                </a:spcAft>
              </a:pPr>
              <a:r>
                <a:rPr lang="ru-RU" sz="2800" b="1" dirty="0">
                  <a:solidFill>
                    <a:srgbClr val="CDCDCD"/>
                  </a:solidFill>
                </a:rPr>
                <a:t>Кнопка «Поднять руку»</a:t>
              </a:r>
            </a:p>
            <a:p>
              <a:pPr>
                <a:spcAft>
                  <a:spcPts val="4000"/>
                </a:spcAft>
              </a:pPr>
              <a:r>
                <a:rPr lang="ru-RU" sz="2800" b="1" dirty="0">
                  <a:solidFill>
                    <a:srgbClr val="CDCDCD"/>
                  </a:solidFill>
                </a:rPr>
                <a:t>Реакции</a:t>
              </a:r>
              <a:endParaRPr lang="en-US" sz="2800" b="1" dirty="0">
                <a:solidFill>
                  <a:srgbClr val="CDCDCD"/>
                </a:solidFill>
              </a:endParaRPr>
            </a:p>
            <a:p>
              <a:pPr>
                <a:spcAft>
                  <a:spcPts val="4000"/>
                </a:spcAft>
              </a:pPr>
              <a:r>
                <a:rPr lang="ru-RU" sz="2800" b="1" dirty="0">
                  <a:solidFill>
                    <a:srgbClr val="CDCDCD"/>
                  </a:solidFill>
                </a:rPr>
                <a:t>Проведение </a:t>
              </a:r>
              <a:r>
                <a:rPr lang="ru-RU" sz="2800" b="1" dirty="0" err="1">
                  <a:solidFill>
                    <a:srgbClr val="CDCDCD"/>
                  </a:solidFill>
                </a:rPr>
                <a:t>вебинаров</a:t>
              </a:r>
              <a:r>
                <a:rPr lang="ru-RU" sz="2800" b="1" dirty="0">
                  <a:solidFill>
                    <a:srgbClr val="CDCDCD"/>
                  </a:solidFill>
                </a:rPr>
                <a:t> </a:t>
              </a:r>
              <a:endParaRPr lang="en-US" sz="2800" b="1" dirty="0">
                <a:solidFill>
                  <a:srgbClr val="CDCDCD"/>
                </a:solidFill>
              </a:endParaRPr>
            </a:p>
            <a:p>
              <a:pPr>
                <a:spcAft>
                  <a:spcPts val="4000"/>
                </a:spcAft>
              </a:pPr>
              <a:r>
                <a:rPr lang="ru-RU" sz="2800" b="1" dirty="0">
                  <a:solidFill>
                    <a:srgbClr val="CDCDCD"/>
                  </a:solidFill>
                </a:rPr>
                <a:t>Интеграция по </a:t>
              </a:r>
              <a:r>
                <a:rPr lang="en-US" sz="2800" b="1" dirty="0">
                  <a:solidFill>
                    <a:srgbClr val="CDCDCD"/>
                  </a:solidFill>
                </a:rPr>
                <a:t>SIP</a:t>
              </a:r>
              <a:endParaRPr lang="ru-RU" sz="2800" b="1" dirty="0">
                <a:solidFill>
                  <a:srgbClr val="CDCDCD"/>
                </a:solidFill>
              </a:endParaRPr>
            </a:p>
          </p:txBody>
        </p:sp>
        <p:pic>
          <p:nvPicPr>
            <p:cNvPr id="46" name="Icons_sber-19.png" descr="Icons_sber-19.png">
              <a:extLst>
                <a:ext uri="{FF2B5EF4-FFF2-40B4-BE49-F238E27FC236}">
                  <a16:creationId xmlns:a16="http://schemas.microsoft.com/office/drawing/2014/main" id="{66BD779D-A03A-2F4C-95FE-F27FED22915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20204" y="3999531"/>
              <a:ext cx="360000" cy="356870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47" name="Icons_sber-09.png" descr="Icons_sber-09.png">
              <a:extLst>
                <a:ext uri="{FF2B5EF4-FFF2-40B4-BE49-F238E27FC236}">
                  <a16:creationId xmlns:a16="http://schemas.microsoft.com/office/drawing/2014/main" id="{6C925022-DB8E-2C4F-A380-36E03E21324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16844" y="4417688"/>
              <a:ext cx="360000" cy="356870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48" name="Icons_sber-23-23.png" descr="Icons_sber-23-23.png">
              <a:extLst>
                <a:ext uri="{FF2B5EF4-FFF2-40B4-BE49-F238E27FC236}">
                  <a16:creationId xmlns:a16="http://schemas.microsoft.com/office/drawing/2014/main" id="{F9110B8F-6E6A-A244-A5AE-1AD4E65FB10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7125036" y="1647857"/>
              <a:ext cx="359999" cy="356870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49" name="Icons_sber-16.png" descr="Icons_sber-16.png">
              <a:extLst>
                <a:ext uri="{FF2B5EF4-FFF2-40B4-BE49-F238E27FC236}">
                  <a16:creationId xmlns:a16="http://schemas.microsoft.com/office/drawing/2014/main" id="{B7C46F92-5211-794B-BC17-E1B02573185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16844" y="3070504"/>
              <a:ext cx="356870" cy="356870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51" name="Рисунок 33">
              <a:extLst>
                <a:ext uri="{FF2B5EF4-FFF2-40B4-BE49-F238E27FC236}">
                  <a16:creationId xmlns:a16="http://schemas.microsoft.com/office/drawing/2014/main" id="{F32437EC-7D0E-3941-A287-DFCE727BEAE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lum bright="70000" contrast="-70000"/>
            </a:blip>
            <a:stretch>
              <a:fillRect/>
            </a:stretch>
          </p:blipFill>
          <p:spPr>
            <a:xfrm>
              <a:off x="7171101" y="3577300"/>
              <a:ext cx="253989" cy="209541"/>
            </a:xfrm>
            <a:prstGeom prst="rect">
              <a:avLst/>
            </a:prstGeom>
          </p:spPr>
        </p:pic>
        <p:pic>
          <p:nvPicPr>
            <p:cNvPr id="52" name="Рисунок 34">
              <a:extLst>
                <a:ext uri="{FF2B5EF4-FFF2-40B4-BE49-F238E27FC236}">
                  <a16:creationId xmlns:a16="http://schemas.microsoft.com/office/drawing/2014/main" id="{7D25E877-05E9-9A4F-9C3F-930ABF6601F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lum bright="70000" contrast="-70000"/>
            </a:blip>
            <a:stretch>
              <a:fillRect/>
            </a:stretch>
          </p:blipFill>
          <p:spPr>
            <a:xfrm>
              <a:off x="7144290" y="2185936"/>
              <a:ext cx="281950" cy="244851"/>
            </a:xfrm>
            <a:prstGeom prst="rect">
              <a:avLst/>
            </a:prstGeom>
          </p:spPr>
        </p:pic>
      </p:grpSp>
      <p:sp>
        <p:nvSpPr>
          <p:cNvPr id="55" name="Rectangle 54">
            <a:extLst>
              <a:ext uri="{FF2B5EF4-FFF2-40B4-BE49-F238E27FC236}">
                <a16:creationId xmlns:a16="http://schemas.microsoft.com/office/drawing/2014/main" id="{01A6532C-30EF-7148-8593-76F97C839B8C}"/>
              </a:ext>
            </a:extLst>
          </p:cNvPr>
          <p:cNvSpPr/>
          <p:nvPr/>
        </p:nvSpPr>
        <p:spPr>
          <a:xfrm>
            <a:off x="878706" y="361116"/>
            <a:ext cx="19988575" cy="19388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999" dirty="0">
                <a:gradFill flip="none" rotWithShape="1">
                  <a:gsLst>
                    <a:gs pos="0">
                      <a:srgbClr val="00D756"/>
                    </a:gs>
                    <a:gs pos="99000">
                      <a:srgbClr val="27C6E5"/>
                    </a:gs>
                  </a:gsLst>
                  <a:lin ang="10800000" scaled="1"/>
                  <a:tileRect/>
                </a:gradFill>
              </a:rPr>
              <a:t>Система ВКС </a:t>
            </a:r>
            <a:r>
              <a:rPr lang="en-US" sz="11999" dirty="0" err="1">
                <a:gradFill flip="none" rotWithShape="1">
                  <a:gsLst>
                    <a:gs pos="0">
                      <a:srgbClr val="00D756"/>
                    </a:gs>
                    <a:gs pos="99000">
                      <a:srgbClr val="27C6E5"/>
                    </a:gs>
                  </a:gsLst>
                  <a:lin ang="10800000" scaled="1"/>
                  <a:tileRect/>
                </a:gradFill>
              </a:rPr>
              <a:t>SberJazz</a:t>
            </a:r>
            <a:endParaRPr lang="ru-RU" sz="11999" dirty="0">
              <a:gradFill flip="none" rotWithShape="1">
                <a:gsLst>
                  <a:gs pos="0">
                    <a:srgbClr val="00D756"/>
                  </a:gs>
                  <a:gs pos="99000">
                    <a:srgbClr val="27C6E5"/>
                  </a:gs>
                </a:gsLst>
                <a:lin ang="10800000" scaled="1"/>
                <a:tileRect/>
              </a:gra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B68FE135-27AB-DF4D-80BC-EADB383D1505}"/>
              </a:ext>
            </a:extLst>
          </p:cNvPr>
          <p:cNvSpPr/>
          <p:nvPr/>
        </p:nvSpPr>
        <p:spPr>
          <a:xfrm>
            <a:off x="716158" y="2312603"/>
            <a:ext cx="2334186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1">
              <a:lnSpc>
                <a:spcPct val="100000"/>
              </a:lnSpc>
              <a:defRPr/>
            </a:pPr>
            <a:r>
              <a:rPr lang="ru-RU" sz="4000" dirty="0">
                <a:ea typeface="Euclid Circular A" panose="020B0504000000000000" pitchFamily="34" charset="-128"/>
                <a:cs typeface="Suisse Int'l Bold" panose="020B0504000000000000" pitchFamily="34" charset="-78"/>
                <a:sym typeface="Arial"/>
              </a:rPr>
              <a:t>Все для интеграции в межведомственном контуре.</a:t>
            </a:r>
          </a:p>
          <a:p>
            <a:pPr hangingPunct="1">
              <a:lnSpc>
                <a:spcPct val="100000"/>
              </a:lnSpc>
              <a:defRPr/>
            </a:pPr>
            <a:r>
              <a:rPr lang="ru-RU" sz="4000" dirty="0">
                <a:ea typeface="Euclid Circular A" panose="020B0504000000000000" pitchFamily="34" charset="-128"/>
                <a:cs typeface="Suisse Int'l Bold" panose="020B0504000000000000" pitchFamily="34" charset="-78"/>
                <a:sym typeface="Arial"/>
              </a:rPr>
              <a:t>Для ускорения перехода на цифровой документооборот и общения с гражданами</a:t>
            </a:r>
          </a:p>
        </p:txBody>
      </p:sp>
      <p:sp>
        <p:nvSpPr>
          <p:cNvPr id="16" name="Скругленный прямоугольник 15">
            <a:extLst>
              <a:ext uri="{FF2B5EF4-FFF2-40B4-BE49-F238E27FC236}">
                <a16:creationId xmlns:a16="http://schemas.microsoft.com/office/drawing/2014/main" id="{39D3949E-ADAE-594C-BBB2-280AA154F410}"/>
              </a:ext>
            </a:extLst>
          </p:cNvPr>
          <p:cNvSpPr/>
          <p:nvPr/>
        </p:nvSpPr>
        <p:spPr>
          <a:xfrm>
            <a:off x="15351143" y="12368357"/>
            <a:ext cx="7386937" cy="1104659"/>
          </a:xfrm>
          <a:prstGeom prst="roundRect">
            <a:avLst/>
          </a:prstGeom>
          <a:solidFill>
            <a:srgbClr val="F0F0F0">
              <a:alpha val="50000"/>
            </a:srgbClr>
          </a:solidFill>
          <a:ln>
            <a:noFill/>
          </a:ln>
          <a:effectLst/>
        </p:spPr>
        <p:txBody>
          <a:bodyPr rtlCol="0" anchor="ctr"/>
          <a:lstStyle/>
          <a:p>
            <a:pPr algn="ctr" defTabSz="1828709">
              <a:defRPr/>
            </a:pPr>
            <a:r>
              <a:rPr lang="ru-RU" sz="2800" dirty="0">
                <a:solidFill>
                  <a:schemeClr val="bg1"/>
                </a:solidFill>
                <a:ea typeface="Euclid Circular A" panose="020B0504000000000000" pitchFamily="34" charset="-128"/>
                <a:cs typeface="Suisse Int'l Bold" panose="020B0504000000000000" pitchFamily="34" charset="-78"/>
              </a:rPr>
              <a:t>Включен в реестр Отечественного ПО</a:t>
            </a:r>
            <a:endParaRPr lang="en-US" sz="2800" dirty="0">
              <a:solidFill>
                <a:schemeClr val="bg1"/>
              </a:solidFill>
              <a:ea typeface="Euclid Circular A" panose="020B0504000000000000" pitchFamily="34" charset="-128"/>
              <a:cs typeface="Suisse Int'l Bold" panose="020B0504000000000000" pitchFamily="34" charset="-78"/>
            </a:endParaRPr>
          </a:p>
          <a:p>
            <a:pPr algn="ctr"/>
            <a:r>
              <a:rPr lang="ru-RU" sz="2800" dirty="0">
                <a:solidFill>
                  <a:schemeClr val="bg1"/>
                </a:solidFill>
                <a:ea typeface="Euclid Circular A" panose="020B0504000000000000" pitchFamily="34" charset="-128"/>
                <a:cs typeface="Suisse Int'l Bold" panose="020B0504000000000000" pitchFamily="34" charset="-78"/>
              </a:rPr>
              <a:t>Запись в реестре №14737 от 05.09.2022</a:t>
            </a: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61B59600-6B2D-C646-8083-E85B925A49E0}"/>
              </a:ext>
            </a:extLst>
          </p:cNvPr>
          <p:cNvPicPr>
            <a:picLocks noChangeAspect="1"/>
          </p:cNvPicPr>
          <p:nvPr/>
        </p:nvPicPr>
        <p:blipFill>
          <a:blip r:embed="rId10">
            <a:lum bright="70000" contrast="-70000"/>
          </a:blip>
          <a:stretch>
            <a:fillRect/>
          </a:stretch>
        </p:blipFill>
        <p:spPr>
          <a:xfrm>
            <a:off x="15181260" y="11549007"/>
            <a:ext cx="719953" cy="490180"/>
          </a:xfrm>
          <a:prstGeom prst="rect">
            <a:avLst/>
          </a:prstGeom>
        </p:spPr>
      </p:pic>
      <p:pic>
        <p:nvPicPr>
          <p:cNvPr id="19" name="Рисунок 32">
            <a:extLst>
              <a:ext uri="{FF2B5EF4-FFF2-40B4-BE49-F238E27FC236}">
                <a16:creationId xmlns:a16="http://schemas.microsoft.com/office/drawing/2014/main" id="{57BD6BD3-BCE8-9846-976B-3C56EB33939D}"/>
              </a:ext>
            </a:extLst>
          </p:cNvPr>
          <p:cNvPicPr>
            <a:picLocks noChangeAspect="1"/>
          </p:cNvPicPr>
          <p:nvPr/>
        </p:nvPicPr>
        <p:blipFill>
          <a:blip r:embed="rId11">
            <a:lum bright="70000" contrast="-70000"/>
          </a:blip>
          <a:stretch>
            <a:fillRect/>
          </a:stretch>
        </p:blipFill>
        <p:spPr>
          <a:xfrm>
            <a:off x="15371637" y="10710736"/>
            <a:ext cx="530623" cy="437763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3A4850B5-572A-7D43-A5FC-C04BB2D8D33B}"/>
              </a:ext>
            </a:extLst>
          </p:cNvPr>
          <p:cNvPicPr>
            <a:picLocks noChangeAspect="1"/>
          </p:cNvPicPr>
          <p:nvPr/>
        </p:nvPicPr>
        <p:blipFill>
          <a:blip r:embed="rId12">
            <a:lum bright="70000" contrast="-70000"/>
          </a:blip>
          <a:stretch>
            <a:fillRect/>
          </a:stretch>
        </p:blipFill>
        <p:spPr>
          <a:xfrm>
            <a:off x="15339310" y="5945977"/>
            <a:ext cx="561563" cy="575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2055426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471C4620-015A-FA45-A480-B341E5C2879A}"/>
              </a:ext>
            </a:extLst>
          </p:cNvPr>
          <p:cNvSpPr/>
          <p:nvPr/>
        </p:nvSpPr>
        <p:spPr>
          <a:xfrm>
            <a:off x="0" y="0"/>
            <a:ext cx="24382413" cy="13716000"/>
          </a:xfrm>
          <a:prstGeom prst="rect">
            <a:avLst/>
          </a:prstGeom>
          <a:solidFill>
            <a:schemeClr val="bg1"/>
          </a:solidFill>
          <a:ln w="190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ru-RU" sz="3200" dirty="0">
              <a:ln w="0"/>
              <a:solidFill>
                <a:schemeClr val="tx1"/>
              </a:solidFill>
            </a:endParaRPr>
          </a:p>
        </p:txBody>
      </p:sp>
      <p:pic>
        <p:nvPicPr>
          <p:cNvPr id="51" name="Icons_sber-11.png" descr="Icons_sber-11.png">
            <a:extLst>
              <a:ext uri="{FF2B5EF4-FFF2-40B4-BE49-F238E27FC236}">
                <a16:creationId xmlns:a16="http://schemas.microsoft.com/office/drawing/2014/main" id="{FE282CDA-A7BF-0C45-AC5A-1C62AF1E7F2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91056" y="7820514"/>
            <a:ext cx="791948" cy="791948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52" name="Icons_sber-14.png" descr="Icons_sber-14.png">
            <a:extLst>
              <a:ext uri="{FF2B5EF4-FFF2-40B4-BE49-F238E27FC236}">
                <a16:creationId xmlns:a16="http://schemas.microsoft.com/office/drawing/2014/main" id="{C1452057-58A5-0D43-80D6-9950845816AC}"/>
              </a:ext>
            </a:extLst>
          </p:cNvPr>
          <p:cNvPicPr>
            <a:picLocks noChangeAspect="1"/>
          </p:cNvPicPr>
          <p:nvPr/>
        </p:nvPicPr>
        <p:blipFill>
          <a:blip r:embed="rId4">
            <a:lum bright="70000" contrast="-70000"/>
          </a:blip>
          <a:stretch>
            <a:fillRect/>
          </a:stretch>
        </p:blipFill>
        <p:spPr>
          <a:xfrm>
            <a:off x="8345820" y="9993022"/>
            <a:ext cx="863944" cy="871523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  <p:pic>
        <p:nvPicPr>
          <p:cNvPr id="53" name="Рисунок 52">
            <a:extLst>
              <a:ext uri="{FF2B5EF4-FFF2-40B4-BE49-F238E27FC236}">
                <a16:creationId xmlns:a16="http://schemas.microsoft.com/office/drawing/2014/main" id="{58347BF9-A3F0-F84C-9210-AC833972BC24}"/>
              </a:ext>
            </a:extLst>
          </p:cNvPr>
          <p:cNvPicPr>
            <a:picLocks noChangeAspect="1"/>
          </p:cNvPicPr>
          <p:nvPr/>
        </p:nvPicPr>
        <p:blipFill>
          <a:blip r:embed="rId5">
            <a:lum bright="70000" contrast="-70000"/>
          </a:blip>
          <a:stretch>
            <a:fillRect/>
          </a:stretch>
        </p:blipFill>
        <p:spPr>
          <a:xfrm>
            <a:off x="8497011" y="11153650"/>
            <a:ext cx="561563" cy="575963"/>
          </a:xfrm>
          <a:prstGeom prst="rect">
            <a:avLst/>
          </a:prstGeom>
        </p:spPr>
      </p:pic>
      <p:pic>
        <p:nvPicPr>
          <p:cNvPr id="56" name="Рисунок 55">
            <a:extLst>
              <a:ext uri="{FF2B5EF4-FFF2-40B4-BE49-F238E27FC236}">
                <a16:creationId xmlns:a16="http://schemas.microsoft.com/office/drawing/2014/main" id="{B0CDC4CF-8EC5-0547-958A-8C5E25A112B6}"/>
              </a:ext>
            </a:extLst>
          </p:cNvPr>
          <p:cNvPicPr>
            <a:picLocks noChangeAspect="1"/>
          </p:cNvPicPr>
          <p:nvPr/>
        </p:nvPicPr>
        <p:blipFill>
          <a:blip r:embed="rId6">
            <a:lum bright="70000" contrast="-70000"/>
          </a:blip>
          <a:stretch>
            <a:fillRect/>
          </a:stretch>
        </p:blipFill>
        <p:spPr>
          <a:xfrm>
            <a:off x="8461350" y="12084196"/>
            <a:ext cx="632889" cy="647958"/>
          </a:xfrm>
          <a:prstGeom prst="rect">
            <a:avLst/>
          </a:prstGeom>
        </p:spPr>
      </p:pic>
      <p:pic>
        <p:nvPicPr>
          <p:cNvPr id="59" name="Рисунок 58">
            <a:extLst>
              <a:ext uri="{FF2B5EF4-FFF2-40B4-BE49-F238E27FC236}">
                <a16:creationId xmlns:a16="http://schemas.microsoft.com/office/drawing/2014/main" id="{5A3070C3-450A-0047-BA0E-17E5910877A9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70000" contrast="-70000"/>
          </a:blip>
          <a:stretch>
            <a:fillRect/>
          </a:stretch>
        </p:blipFill>
        <p:spPr>
          <a:xfrm>
            <a:off x="8417816" y="9062910"/>
            <a:ext cx="719953" cy="49018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C332EB0-B526-E24E-82A4-AD4B34A58DAE}"/>
              </a:ext>
            </a:extLst>
          </p:cNvPr>
          <p:cNvSpPr/>
          <p:nvPr/>
        </p:nvSpPr>
        <p:spPr>
          <a:xfrm>
            <a:off x="9228239" y="7910636"/>
            <a:ext cx="12191206" cy="47295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4000"/>
              </a:spcAft>
            </a:pPr>
            <a:r>
              <a:rPr lang="ru-RU" altLang="ru-RU" sz="2800" b="1" dirty="0">
                <a:solidFill>
                  <a:srgbClr val="CDCDCD"/>
                </a:solidFill>
              </a:rPr>
              <a:t>Продуктивные встречи и без бумаги</a:t>
            </a:r>
          </a:p>
          <a:p>
            <a:pPr>
              <a:spcAft>
                <a:spcPts val="4000"/>
              </a:spcAft>
            </a:pPr>
            <a:r>
              <a:rPr lang="ru-RU" altLang="ru-RU" sz="2800" b="1" dirty="0">
                <a:solidFill>
                  <a:srgbClr val="CDCDCD"/>
                </a:solidFill>
              </a:rPr>
              <a:t>Первый шаг к автоматизации межведомственных конференций и взаимодействия с гражданами</a:t>
            </a:r>
            <a:endParaRPr lang="en-US" altLang="ru-RU" sz="2800" b="1" dirty="0">
              <a:solidFill>
                <a:srgbClr val="CDCDCD"/>
              </a:solidFill>
            </a:endParaRPr>
          </a:p>
          <a:p>
            <a:pPr>
              <a:spcAft>
                <a:spcPts val="4000"/>
              </a:spcAft>
            </a:pPr>
            <a:r>
              <a:rPr lang="ru-RU" altLang="ru-RU" sz="2800" b="1" dirty="0">
                <a:solidFill>
                  <a:srgbClr val="CDCDCD"/>
                </a:solidFill>
              </a:rPr>
              <a:t>Интеграция с внутренними системами и календарём (на портал) </a:t>
            </a:r>
            <a:endParaRPr lang="en-US" altLang="ru-RU" sz="2800" b="1" dirty="0">
              <a:solidFill>
                <a:srgbClr val="CDCDCD"/>
              </a:solidFill>
            </a:endParaRPr>
          </a:p>
          <a:p>
            <a:pPr>
              <a:spcAft>
                <a:spcPts val="4000"/>
              </a:spcAft>
            </a:pPr>
            <a:r>
              <a:rPr lang="ru-RU" altLang="ru-RU" sz="2800" b="1" dirty="0">
                <a:solidFill>
                  <a:srgbClr val="CDCDCD"/>
                </a:solidFill>
              </a:rPr>
              <a:t>Мгновенная выгрузка в файл итогов разговора</a:t>
            </a:r>
            <a:endParaRPr lang="en-US" altLang="ru-RU" sz="2800" b="1" dirty="0">
              <a:solidFill>
                <a:srgbClr val="CDCDCD"/>
              </a:solidFill>
            </a:endParaRPr>
          </a:p>
          <a:p>
            <a:pPr>
              <a:spcAft>
                <a:spcPts val="4000"/>
              </a:spcAft>
            </a:pPr>
            <a:r>
              <a:rPr lang="ru-RU" altLang="ru-RU" sz="2800" b="1" dirty="0">
                <a:solidFill>
                  <a:srgbClr val="CDCDCD"/>
                </a:solidFill>
              </a:rPr>
              <a:t>Возможность проводить онлайн-встречи и консультации</a:t>
            </a:r>
            <a:endParaRPr lang="en-US" altLang="ru-RU" sz="2800" b="1" dirty="0">
              <a:solidFill>
                <a:srgbClr val="CDCDCD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9565D0D-F561-1841-AE31-E584B489854B}"/>
              </a:ext>
            </a:extLst>
          </p:cNvPr>
          <p:cNvSpPr/>
          <p:nvPr/>
        </p:nvSpPr>
        <p:spPr>
          <a:xfrm>
            <a:off x="878706" y="361116"/>
            <a:ext cx="17712883" cy="56319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999" dirty="0">
                <a:gradFill flip="none" rotWithShape="1">
                  <a:gsLst>
                    <a:gs pos="0">
                      <a:srgbClr val="00D756"/>
                    </a:gs>
                    <a:gs pos="99000">
                      <a:srgbClr val="27C6E5"/>
                    </a:gs>
                  </a:gsLst>
                  <a:lin ang="10800000" scaled="1"/>
                  <a:tileRect/>
                </a:gradFill>
              </a:rPr>
              <a:t>Уникальные технологии для продуктивных встреч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7763793-C2FD-3147-950E-92A7B62647EA}"/>
              </a:ext>
            </a:extLst>
          </p:cNvPr>
          <p:cNvSpPr/>
          <p:nvPr/>
        </p:nvSpPr>
        <p:spPr>
          <a:xfrm>
            <a:off x="6248564" y="4371737"/>
            <a:ext cx="985398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4000" dirty="0"/>
              <a:t>— от виртуальных ассистентов до </a:t>
            </a:r>
            <a:r>
              <a:rPr lang="ru-RU" sz="4000" dirty="0" err="1"/>
              <a:t>автогенерации</a:t>
            </a:r>
            <a:r>
              <a:rPr lang="ru-RU" sz="4000" dirty="0"/>
              <a:t> расшифровки звонка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E64D54F-BE62-154F-A5E8-B6F1158EB3BE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50000"/>
          </a:blip>
          <a:stretch>
            <a:fillRect/>
          </a:stretch>
        </p:blipFill>
        <p:spPr>
          <a:xfrm>
            <a:off x="-2531874" y="7302751"/>
            <a:ext cx="9791183" cy="9791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8207300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ECA29A17-CBAE-5A41-9FCA-30CEAC22D636}"/>
              </a:ext>
            </a:extLst>
          </p:cNvPr>
          <p:cNvSpPr/>
          <p:nvPr/>
        </p:nvSpPr>
        <p:spPr>
          <a:xfrm>
            <a:off x="0" y="0"/>
            <a:ext cx="24382413" cy="13716000"/>
          </a:xfrm>
          <a:prstGeom prst="rect">
            <a:avLst/>
          </a:prstGeom>
          <a:solidFill>
            <a:schemeClr val="bg1"/>
          </a:solidFill>
          <a:ln w="190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ru-RU" sz="3200" dirty="0">
              <a:ln w="0"/>
              <a:solidFill>
                <a:schemeClr val="tx1"/>
              </a:solidFill>
            </a:endParaRP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C383E6E1-90F6-F847-A6E3-06A575B39BF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93717" y="854675"/>
            <a:ext cx="17612443" cy="1220361"/>
          </a:xfrm>
        </p:spPr>
        <p:txBody>
          <a:bodyPr/>
          <a:lstStyle/>
          <a:p>
            <a:r>
              <a:rPr lang="ru-RU" sz="8000" dirty="0">
                <a:gradFill flip="none" rotWithShape="1">
                  <a:gsLst>
                    <a:gs pos="0">
                      <a:srgbClr val="00D756"/>
                    </a:gs>
                    <a:gs pos="99000">
                      <a:srgbClr val="27C6E5"/>
                    </a:gs>
                  </a:gsLst>
                  <a:lin ang="10800000" scaled="1"/>
                  <a:tileRect/>
                </a:gradFill>
                <a:latin typeface="+mn-lt"/>
                <a:ea typeface="+mn-ea"/>
                <a:cs typeface="+mn-cs"/>
                <a:sym typeface="Calibri"/>
              </a:rPr>
              <a:t>Новое в информационной безопасности</a:t>
            </a:r>
          </a:p>
        </p:txBody>
      </p:sp>
      <p:sp>
        <p:nvSpPr>
          <p:cNvPr id="38" name="Скругленный прямоугольник 37">
            <a:extLst>
              <a:ext uri="{FF2B5EF4-FFF2-40B4-BE49-F238E27FC236}">
                <a16:creationId xmlns:a16="http://schemas.microsoft.com/office/drawing/2014/main" id="{66438F4E-E303-4A49-92BA-F40229421656}"/>
              </a:ext>
            </a:extLst>
          </p:cNvPr>
          <p:cNvSpPr/>
          <p:nvPr/>
        </p:nvSpPr>
        <p:spPr>
          <a:xfrm>
            <a:off x="1094600" y="10004165"/>
            <a:ext cx="12706873" cy="2404513"/>
          </a:xfrm>
          <a:prstGeom prst="roundRect">
            <a:avLst/>
          </a:prstGeom>
          <a:solidFill>
            <a:srgbClr val="222455"/>
          </a:solidFill>
          <a:ln>
            <a:noFill/>
          </a:ln>
          <a:effectLst/>
        </p:spPr>
        <p:txBody>
          <a:bodyPr rtlCol="0" anchor="ctr"/>
          <a:lstStyle/>
          <a:p>
            <a:pPr algn="ctr"/>
            <a:r>
              <a:rPr lang="ru-RU" sz="4000" dirty="0">
                <a:ea typeface="Euclid Circular A" panose="020B0504000000000000" pitchFamily="34" charset="-128"/>
                <a:cs typeface="Suisse Int'l Bold" panose="020B0504000000000000" pitchFamily="34" charset="-78"/>
              </a:rPr>
              <a:t>Совместное использование </a:t>
            </a:r>
            <a:r>
              <a:rPr lang="ru-RU" sz="4000" dirty="0" err="1">
                <a:ea typeface="Euclid Circular A" panose="020B0504000000000000" pitchFamily="34" charset="-128"/>
                <a:cs typeface="Suisse Int'l Bold" panose="020B0504000000000000" pitchFamily="34" charset="-78"/>
              </a:rPr>
              <a:t>Инфотекс</a:t>
            </a:r>
            <a:r>
              <a:rPr lang="ru-RU" sz="4000" dirty="0">
                <a:ea typeface="Euclid Circular A" panose="020B0504000000000000" pitchFamily="34" charset="-128"/>
                <a:cs typeface="Suisse Int'l Bold" panose="020B0504000000000000" pitchFamily="34" charset="-78"/>
              </a:rPr>
              <a:t> и </a:t>
            </a:r>
            <a:r>
              <a:rPr lang="ru-RU" sz="4000" dirty="0" err="1">
                <a:ea typeface="Euclid Circular A" panose="020B0504000000000000" pitchFamily="34" charset="-128"/>
                <a:cs typeface="Suisse Int'l Bold" panose="020B0504000000000000" pitchFamily="34" charset="-78"/>
              </a:rPr>
              <a:t>Астралинкус</a:t>
            </a:r>
            <a:r>
              <a:rPr lang="ru-RU" sz="4000" dirty="0">
                <a:ea typeface="Euclid Circular A" panose="020B0504000000000000" pitchFamily="34" charset="-128"/>
                <a:cs typeface="Suisse Int'l Bold" panose="020B0504000000000000" pitchFamily="34" charset="-78"/>
              </a:rPr>
              <a:t> дают повышенный класс защиты</a:t>
            </a:r>
          </a:p>
        </p:txBody>
      </p:sp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8E62F2C6-8B40-F94E-AF58-46D8F7D697F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14293" y="1464855"/>
            <a:ext cx="6273520" cy="8857377"/>
          </a:xfrm>
          <a:prstGeom prst="rect">
            <a:avLst/>
          </a:prstGeom>
        </p:spPr>
      </p:pic>
      <p:sp>
        <p:nvSpPr>
          <p:cNvPr id="40" name="Скругленный прямоугольник 39">
            <a:extLst>
              <a:ext uri="{FF2B5EF4-FFF2-40B4-BE49-F238E27FC236}">
                <a16:creationId xmlns:a16="http://schemas.microsoft.com/office/drawing/2014/main" id="{559BA007-C516-4A4D-A094-7AD9F7B229D5}"/>
              </a:ext>
            </a:extLst>
          </p:cNvPr>
          <p:cNvSpPr/>
          <p:nvPr/>
        </p:nvSpPr>
        <p:spPr>
          <a:xfrm>
            <a:off x="1193717" y="6815737"/>
            <a:ext cx="12706875" cy="2404513"/>
          </a:xfrm>
          <a:prstGeom prst="roundRect">
            <a:avLst/>
          </a:prstGeom>
          <a:solidFill>
            <a:srgbClr val="222455"/>
          </a:solidFill>
          <a:ln>
            <a:noFill/>
          </a:ln>
          <a:effectLst/>
        </p:spPr>
        <p:txBody>
          <a:bodyPr rtlCol="0" anchor="ctr"/>
          <a:lstStyle/>
          <a:p>
            <a:pPr algn="ctr"/>
            <a:r>
              <a:rPr lang="ru-RU" sz="4000" dirty="0">
                <a:ea typeface="Euclid Circular A" panose="020B0504000000000000" pitchFamily="34" charset="-128"/>
                <a:cs typeface="Suisse Int'l Bold" panose="020B0504000000000000" pitchFamily="34" charset="-78"/>
              </a:rPr>
              <a:t>Подтверждена корректная совместная работа с </a:t>
            </a:r>
            <a:r>
              <a:rPr lang="ru-RU" sz="4000" dirty="0" err="1">
                <a:ea typeface="Euclid Circular A" panose="020B0504000000000000" pitchFamily="34" charset="-128"/>
                <a:cs typeface="Suisse Int'l Bold" panose="020B0504000000000000" pitchFamily="34" charset="-78"/>
              </a:rPr>
              <a:t>Астралинукс</a:t>
            </a:r>
            <a:endParaRPr lang="ru-RU" sz="4000" dirty="0">
              <a:ea typeface="Euclid Circular A" panose="020B0504000000000000" pitchFamily="34" charset="-128"/>
              <a:cs typeface="Suisse Int'l Bold" panose="020B0504000000000000" pitchFamily="34" charset="-78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EDD3420-5C6C-4E4A-BFDE-F710394E1CA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78020" y="3562562"/>
            <a:ext cx="6273522" cy="8846116"/>
          </a:xfrm>
          <a:prstGeom prst="rect">
            <a:avLst/>
          </a:prstGeom>
        </p:spPr>
      </p:pic>
      <p:sp>
        <p:nvSpPr>
          <p:cNvPr id="43" name="Скругленный прямоугольник 42">
            <a:extLst>
              <a:ext uri="{FF2B5EF4-FFF2-40B4-BE49-F238E27FC236}">
                <a16:creationId xmlns:a16="http://schemas.microsoft.com/office/drawing/2014/main" id="{CA339FF0-CD71-5E42-B547-7E61C31D9634}"/>
              </a:ext>
            </a:extLst>
          </p:cNvPr>
          <p:cNvSpPr/>
          <p:nvPr/>
        </p:nvSpPr>
        <p:spPr>
          <a:xfrm>
            <a:off x="1193719" y="3627310"/>
            <a:ext cx="12706873" cy="2404513"/>
          </a:xfrm>
          <a:prstGeom prst="roundRect">
            <a:avLst/>
          </a:prstGeom>
          <a:solidFill>
            <a:srgbClr val="222455"/>
          </a:solidFill>
          <a:ln>
            <a:noFill/>
          </a:ln>
          <a:effectLst/>
        </p:spPr>
        <p:txBody>
          <a:bodyPr rtlCol="0" anchor="ctr"/>
          <a:lstStyle/>
          <a:p>
            <a:pPr algn="ctr"/>
            <a:r>
              <a:rPr lang="ru-RU" sz="4000" dirty="0">
                <a:ea typeface="Euclid Circular A" panose="020B0504000000000000" pitchFamily="34" charset="-128"/>
                <a:cs typeface="Suisse Int'l Bold" panose="020B0504000000000000" pitchFamily="34" charset="-78"/>
              </a:rPr>
              <a:t>Выполнена интеграция с </a:t>
            </a:r>
            <a:r>
              <a:rPr lang="ru-RU" sz="4000" dirty="0" err="1">
                <a:ea typeface="Euclid Circular A" panose="020B0504000000000000" pitchFamily="34" charset="-128"/>
                <a:cs typeface="Suisse Int'l Bold" panose="020B0504000000000000" pitchFamily="34" charset="-78"/>
              </a:rPr>
              <a:t>Инфотекс</a:t>
            </a:r>
            <a:r>
              <a:rPr lang="ru-RU" sz="4000" dirty="0">
                <a:ea typeface="Euclid Circular A" panose="020B0504000000000000" pitchFamily="34" charset="-128"/>
                <a:cs typeface="Suisse Int'l Bold" panose="020B0504000000000000" pitchFamily="34" charset="-78"/>
              </a:rPr>
              <a:t>, соответствие требованиям ФСТЭК и ФСБ </a:t>
            </a:r>
          </a:p>
        </p:txBody>
      </p:sp>
    </p:spTree>
    <p:extLst>
      <p:ext uri="{BB962C8B-B14F-4D97-AF65-F5344CB8AC3E}">
        <p14:creationId xmlns:p14="http://schemas.microsoft.com/office/powerpoint/2010/main" val="4153662525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65C43BAB-ED92-FA42-9326-F9F1D76CB7BD}"/>
              </a:ext>
            </a:extLst>
          </p:cNvPr>
          <p:cNvSpPr/>
          <p:nvPr/>
        </p:nvSpPr>
        <p:spPr>
          <a:xfrm>
            <a:off x="0" y="0"/>
            <a:ext cx="24382413" cy="13716000"/>
          </a:xfrm>
          <a:prstGeom prst="rect">
            <a:avLst/>
          </a:prstGeom>
          <a:solidFill>
            <a:schemeClr val="bg1"/>
          </a:solidFill>
          <a:ln w="190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216000" rIns="90000" bIns="216000" rtlCol="0" anchor="ctr" anchorCtr="0"/>
          <a:lstStyle/>
          <a:p>
            <a:pPr algn="ctr">
              <a:lnSpc>
                <a:spcPct val="90000"/>
              </a:lnSpc>
            </a:pPr>
            <a:endParaRPr lang="ru-RU" sz="3200" dirty="0">
              <a:ln w="0"/>
              <a:solidFill>
                <a:schemeClr val="tx1"/>
              </a:solidFill>
            </a:endParaRP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C383E6E1-90F6-F847-A6E3-06A575B39BF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51489" y="782600"/>
            <a:ext cx="20900375" cy="1220361"/>
          </a:xfrm>
        </p:spPr>
        <p:txBody>
          <a:bodyPr/>
          <a:lstStyle/>
          <a:p>
            <a:r>
              <a:rPr lang="en-US" dirty="0" err="1"/>
              <a:t>SberJazz</a:t>
            </a:r>
            <a:r>
              <a:rPr lang="ru-RU" dirty="0"/>
              <a:t> </a:t>
            </a:r>
            <a:r>
              <a:rPr lang="en-US" dirty="0"/>
              <a:t>— </a:t>
            </a:r>
            <a:r>
              <a:rPr lang="ru-RU" dirty="0"/>
              <a:t>комплексное решение</a:t>
            </a:r>
            <a:r>
              <a:rPr lang="en-US" dirty="0"/>
              <a:t> </a:t>
            </a:r>
            <a:r>
              <a:rPr lang="ru-RU" dirty="0"/>
              <a:t>для видеоконференцсвязи, развёртываем систему по модели </a:t>
            </a:r>
            <a:r>
              <a:rPr lang="en-US" dirty="0"/>
              <a:t>Internal Cloud</a:t>
            </a:r>
            <a:r>
              <a:rPr lang="ru-RU" dirty="0"/>
              <a:t> </a:t>
            </a:r>
          </a:p>
          <a:p>
            <a:endParaRPr lang="ru-RU" dirty="0"/>
          </a:p>
        </p:txBody>
      </p:sp>
      <p:sp>
        <p:nvSpPr>
          <p:cNvPr id="93" name="Скругленный прямоугольник 92">
            <a:extLst>
              <a:ext uri="{FF2B5EF4-FFF2-40B4-BE49-F238E27FC236}">
                <a16:creationId xmlns:a16="http://schemas.microsoft.com/office/drawing/2014/main" id="{FCC773AB-D39F-E143-9AC0-EE3C27380889}"/>
              </a:ext>
            </a:extLst>
          </p:cNvPr>
          <p:cNvSpPr>
            <a:spLocks/>
          </p:cNvSpPr>
          <p:nvPr/>
        </p:nvSpPr>
        <p:spPr>
          <a:xfrm>
            <a:off x="17389668" y="10809776"/>
            <a:ext cx="5204485" cy="782616"/>
          </a:xfrm>
          <a:prstGeom prst="roundRect">
            <a:avLst>
              <a:gd name="adj" fmla="val 50000"/>
            </a:avLst>
          </a:prstGeom>
          <a:noFill/>
          <a:ln w="19050" cap="flat">
            <a:solidFill>
              <a:schemeClr val="tx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4" tIns="91434" rIns="91434" bIns="91434" numCol="1" spcCol="38100" rtlCol="0" anchor="ctr">
            <a:spAutoFit/>
          </a:bodyPr>
          <a:lstStyle/>
          <a:p>
            <a:pPr algn="ctr" defTabSz="825459">
              <a:lnSpc>
                <a:spcPts val="2900"/>
              </a:lnSpc>
            </a:pPr>
            <a:r>
              <a:rPr lang="ru-RU" sz="2400" dirty="0">
                <a:ea typeface="+mj-ea"/>
                <a:cs typeface="+mj-cs"/>
                <a:sym typeface="SB Sans Text"/>
              </a:rPr>
              <a:t>Система администрирования</a:t>
            </a:r>
          </a:p>
        </p:txBody>
      </p:sp>
      <p:sp>
        <p:nvSpPr>
          <p:cNvPr id="94" name="Скругленный прямоугольник 93">
            <a:extLst>
              <a:ext uri="{FF2B5EF4-FFF2-40B4-BE49-F238E27FC236}">
                <a16:creationId xmlns:a16="http://schemas.microsoft.com/office/drawing/2014/main" id="{8B3FA6B7-8765-594C-8CA4-0965095ED024}"/>
              </a:ext>
            </a:extLst>
          </p:cNvPr>
          <p:cNvSpPr>
            <a:spLocks/>
          </p:cNvSpPr>
          <p:nvPr/>
        </p:nvSpPr>
        <p:spPr>
          <a:xfrm>
            <a:off x="11767314" y="10861818"/>
            <a:ext cx="5204485" cy="782616"/>
          </a:xfrm>
          <a:prstGeom prst="roundRect">
            <a:avLst>
              <a:gd name="adj" fmla="val 50000"/>
            </a:avLst>
          </a:prstGeom>
          <a:noFill/>
          <a:ln w="19050" cap="flat">
            <a:solidFill>
              <a:schemeClr val="tx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4" tIns="91434" rIns="91434" bIns="91434" numCol="1" spcCol="38100" rtlCol="0" anchor="ctr">
            <a:spAutoFit/>
          </a:bodyPr>
          <a:lstStyle/>
          <a:p>
            <a:pPr algn="ctr" defTabSz="825459">
              <a:lnSpc>
                <a:spcPts val="2900"/>
              </a:lnSpc>
            </a:pPr>
            <a:r>
              <a:rPr lang="ru-RU" sz="2400" dirty="0">
                <a:ea typeface="+mj-ea"/>
                <a:cs typeface="+mj-cs"/>
                <a:sym typeface="SB Sans Text"/>
              </a:rPr>
              <a:t>Подсистема аудита</a:t>
            </a:r>
          </a:p>
        </p:txBody>
      </p:sp>
      <p:sp>
        <p:nvSpPr>
          <p:cNvPr id="95" name="Скругленный прямоугольник 94">
            <a:extLst>
              <a:ext uri="{FF2B5EF4-FFF2-40B4-BE49-F238E27FC236}">
                <a16:creationId xmlns:a16="http://schemas.microsoft.com/office/drawing/2014/main" id="{64166059-28A5-6349-A585-3B01B4A6E4B1}"/>
              </a:ext>
            </a:extLst>
          </p:cNvPr>
          <p:cNvSpPr>
            <a:spLocks/>
          </p:cNvSpPr>
          <p:nvPr/>
        </p:nvSpPr>
        <p:spPr>
          <a:xfrm>
            <a:off x="17389668" y="11838755"/>
            <a:ext cx="5204485" cy="782616"/>
          </a:xfrm>
          <a:prstGeom prst="roundRect">
            <a:avLst>
              <a:gd name="adj" fmla="val 50000"/>
            </a:avLst>
          </a:prstGeom>
          <a:noFill/>
          <a:ln w="19050" cap="flat">
            <a:solidFill>
              <a:schemeClr val="tx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4" tIns="91434" rIns="91434" bIns="91434" numCol="1" spcCol="38100" rtlCol="0" anchor="ctr">
            <a:spAutoFit/>
          </a:bodyPr>
          <a:lstStyle/>
          <a:p>
            <a:pPr algn="ctr" defTabSz="825459">
              <a:lnSpc>
                <a:spcPts val="2900"/>
              </a:lnSpc>
            </a:pPr>
            <a:r>
              <a:rPr lang="ru-RU" sz="2400" dirty="0">
                <a:ea typeface="+mj-ea"/>
                <a:cs typeface="+mj-cs"/>
                <a:sym typeface="SB Sans Text"/>
              </a:rPr>
              <a:t>Интеграция с </a:t>
            </a:r>
            <a:r>
              <a:rPr lang="en-US" sz="2400" dirty="0">
                <a:ea typeface="+mj-ea"/>
                <a:cs typeface="+mj-cs"/>
                <a:sym typeface="SB Sans Text"/>
              </a:rPr>
              <a:t>SIEM</a:t>
            </a:r>
            <a:endParaRPr lang="ru-RU" sz="2400" dirty="0">
              <a:ea typeface="+mj-ea"/>
              <a:cs typeface="+mj-cs"/>
              <a:sym typeface="SB Sans Text"/>
            </a:endParaRPr>
          </a:p>
        </p:txBody>
      </p:sp>
      <p:sp>
        <p:nvSpPr>
          <p:cNvPr id="96" name="Скругленный прямоугольник 95">
            <a:extLst>
              <a:ext uri="{FF2B5EF4-FFF2-40B4-BE49-F238E27FC236}">
                <a16:creationId xmlns:a16="http://schemas.microsoft.com/office/drawing/2014/main" id="{BF2B67E4-0A3D-F444-BF1D-895D034B1889}"/>
              </a:ext>
            </a:extLst>
          </p:cNvPr>
          <p:cNvSpPr>
            <a:spLocks/>
          </p:cNvSpPr>
          <p:nvPr/>
        </p:nvSpPr>
        <p:spPr>
          <a:xfrm>
            <a:off x="11767314" y="11838757"/>
            <a:ext cx="5204485" cy="782616"/>
          </a:xfrm>
          <a:prstGeom prst="roundRect">
            <a:avLst>
              <a:gd name="adj" fmla="val 50000"/>
            </a:avLst>
          </a:prstGeom>
          <a:noFill/>
          <a:ln w="19050" cap="flat">
            <a:solidFill>
              <a:schemeClr val="tx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4" tIns="91434" rIns="91434" bIns="91434" numCol="1" spcCol="38100" rtlCol="0" anchor="ctr">
            <a:spAutoFit/>
          </a:bodyPr>
          <a:lstStyle/>
          <a:p>
            <a:pPr algn="ctr" defTabSz="825459">
              <a:lnSpc>
                <a:spcPts val="2900"/>
              </a:lnSpc>
            </a:pPr>
            <a:r>
              <a:rPr lang="ru-RU" sz="2400" dirty="0">
                <a:ea typeface="+mj-ea"/>
                <a:cs typeface="+mj-cs"/>
                <a:sym typeface="SB Sans Text"/>
              </a:rPr>
              <a:t>Интеграция с </a:t>
            </a:r>
            <a:r>
              <a:rPr lang="en-US" sz="2400" dirty="0">
                <a:ea typeface="+mj-ea"/>
                <a:cs typeface="+mj-cs"/>
                <a:sym typeface="SB Sans Text"/>
              </a:rPr>
              <a:t>AD</a:t>
            </a:r>
            <a:endParaRPr lang="ru-RU" sz="2400" dirty="0">
              <a:ea typeface="+mj-ea"/>
              <a:cs typeface="+mj-cs"/>
              <a:sym typeface="SB Sans Text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A7BBD10-15F2-5040-B380-3CD8CF305EF8}"/>
              </a:ext>
            </a:extLst>
          </p:cNvPr>
          <p:cNvGrpSpPr/>
          <p:nvPr/>
        </p:nvGrpSpPr>
        <p:grpSpPr>
          <a:xfrm>
            <a:off x="15304794" y="10017186"/>
            <a:ext cx="3343788" cy="615542"/>
            <a:chOff x="8129088" y="3246377"/>
            <a:chExt cx="1672003" cy="307791"/>
          </a:xfrm>
        </p:grpSpPr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EC5F99C3-E3DA-504A-B6FB-34D52B287F95}"/>
                </a:ext>
              </a:extLst>
            </p:cNvPr>
            <p:cNvSpPr txBox="1"/>
            <p:nvPr/>
          </p:nvSpPr>
          <p:spPr>
            <a:xfrm>
              <a:off x="8440700" y="3246377"/>
              <a:ext cx="1360391" cy="307791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91434" tIns="91434" rIns="91434" bIns="91434" numCol="1" spcCol="38100" rtlCol="0" anchor="t">
              <a:spAutoFit/>
            </a:bodyPr>
            <a:lstStyle/>
            <a:p>
              <a:pPr defTabSz="1828709"/>
              <a:r>
                <a:rPr lang="en-US" sz="2800" b="1" dirty="0">
                  <a:ea typeface="SB Sans Text Semibold"/>
                  <a:cs typeface="SB Sans Text Semibold"/>
                  <a:sym typeface="SB Sans Text Semibold"/>
                </a:rPr>
                <a:t>Administration</a:t>
              </a:r>
              <a:endParaRPr lang="ru-RU" sz="2800" b="1" dirty="0">
                <a:ea typeface="SB Sans Text Semibold"/>
                <a:cs typeface="SB Sans Text Semibold"/>
                <a:sym typeface="SB Sans Text Semibold"/>
              </a:endParaRPr>
            </a:p>
          </p:txBody>
        </p:sp>
        <p:pic>
          <p:nvPicPr>
            <p:cNvPr id="109" name="Рисунок 108">
              <a:extLst>
                <a:ext uri="{FF2B5EF4-FFF2-40B4-BE49-F238E27FC236}">
                  <a16:creationId xmlns:a16="http://schemas.microsoft.com/office/drawing/2014/main" id="{CD66D6DD-4257-FA43-96BD-9B81A710F65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biLevel thresh="25000"/>
            </a:blip>
            <a:stretch>
              <a:fillRect/>
            </a:stretch>
          </p:blipFill>
          <p:spPr>
            <a:xfrm>
              <a:off x="8129088" y="3260565"/>
              <a:ext cx="222250" cy="279400"/>
            </a:xfrm>
            <a:prstGeom prst="rect">
              <a:avLst/>
            </a:prstGeom>
          </p:spPr>
        </p:pic>
      </p:grpSp>
      <p:sp>
        <p:nvSpPr>
          <p:cNvPr id="46" name="Graphic 37">
            <a:extLst>
              <a:ext uri="{FF2B5EF4-FFF2-40B4-BE49-F238E27FC236}">
                <a16:creationId xmlns:a16="http://schemas.microsoft.com/office/drawing/2014/main" id="{71275D86-1EC5-1947-8F6A-1CA07C4E5092}"/>
              </a:ext>
            </a:extLst>
          </p:cNvPr>
          <p:cNvSpPr/>
          <p:nvPr/>
        </p:nvSpPr>
        <p:spPr>
          <a:xfrm>
            <a:off x="12706901" y="2969162"/>
            <a:ext cx="799946" cy="959938"/>
          </a:xfrm>
          <a:custGeom>
            <a:avLst/>
            <a:gdLst>
              <a:gd name="connsiteX0" fmla="*/ 209713 w 399999"/>
              <a:gd name="connsiteY0" fmla="*/ 477483 h 480000"/>
              <a:gd name="connsiteX1" fmla="*/ 190288 w 399999"/>
              <a:gd name="connsiteY1" fmla="*/ 477484 h 480000"/>
              <a:gd name="connsiteX2" fmla="*/ 92565 w 399999"/>
              <a:gd name="connsiteY2" fmla="*/ 423202 h 480000"/>
              <a:gd name="connsiteX3" fmla="*/ 0 w 399999"/>
              <a:gd name="connsiteY3" fmla="*/ 265860 h 480000"/>
              <a:gd name="connsiteX4" fmla="*/ 0 w 399999"/>
              <a:gd name="connsiteY4" fmla="*/ 20000 h 480000"/>
              <a:gd name="connsiteX5" fmla="*/ 20000 w 399999"/>
              <a:gd name="connsiteY5" fmla="*/ 0 h 480000"/>
              <a:gd name="connsiteX6" fmla="*/ 380000 w 399999"/>
              <a:gd name="connsiteY6" fmla="*/ 0 h 480000"/>
              <a:gd name="connsiteX7" fmla="*/ 400000 w 399999"/>
              <a:gd name="connsiteY7" fmla="*/ 20000 h 480000"/>
              <a:gd name="connsiteX8" fmla="*/ 400000 w 399999"/>
              <a:gd name="connsiteY8" fmla="*/ 265860 h 480000"/>
              <a:gd name="connsiteX9" fmla="*/ 307413 w 399999"/>
              <a:gd name="connsiteY9" fmla="*/ 423203 h 480000"/>
              <a:gd name="connsiteX10" fmla="*/ 209713 w 399999"/>
              <a:gd name="connsiteY10" fmla="*/ 477483 h 480000"/>
              <a:gd name="connsiteX11" fmla="*/ 287987 w 399999"/>
              <a:gd name="connsiteY11" fmla="*/ 388237 h 480000"/>
              <a:gd name="connsiteX12" fmla="*/ 292685 w 399999"/>
              <a:gd name="connsiteY12" fmla="*/ 385507 h 480000"/>
              <a:gd name="connsiteX13" fmla="*/ 360000 w 399999"/>
              <a:gd name="connsiteY13" fmla="*/ 265860 h 480000"/>
              <a:gd name="connsiteX14" fmla="*/ 360000 w 399999"/>
              <a:gd name="connsiteY14" fmla="*/ 40000 h 480000"/>
              <a:gd name="connsiteX15" fmla="*/ 40000 w 399999"/>
              <a:gd name="connsiteY15" fmla="*/ 40000 h 480000"/>
              <a:gd name="connsiteX16" fmla="*/ 40000 w 399999"/>
              <a:gd name="connsiteY16" fmla="*/ 265860 h 480000"/>
              <a:gd name="connsiteX17" fmla="*/ 111992 w 399999"/>
              <a:gd name="connsiteY17" fmla="*/ 388236 h 480000"/>
              <a:gd name="connsiteX18" fmla="*/ 199999 w 399999"/>
              <a:gd name="connsiteY18" fmla="*/ 437121 h 480000"/>
              <a:gd name="connsiteX19" fmla="*/ 287987 w 399999"/>
              <a:gd name="connsiteY19" fmla="*/ 388237 h 480000"/>
              <a:gd name="connsiteX20" fmla="*/ 189994 w 399999"/>
              <a:gd name="connsiteY20" fmla="*/ 231714 h 480000"/>
              <a:gd name="connsiteX21" fmla="*/ 154136 w 399999"/>
              <a:gd name="connsiteY21" fmla="*/ 195856 h 480000"/>
              <a:gd name="connsiteX22" fmla="*/ 125852 w 399999"/>
              <a:gd name="connsiteY22" fmla="*/ 195856 h 480000"/>
              <a:gd name="connsiteX23" fmla="*/ 125852 w 399999"/>
              <a:gd name="connsiteY23" fmla="*/ 224140 h 480000"/>
              <a:gd name="connsiteX24" fmla="*/ 175852 w 399999"/>
              <a:gd name="connsiteY24" fmla="*/ 274140 h 480000"/>
              <a:gd name="connsiteX25" fmla="*/ 204136 w 399999"/>
              <a:gd name="connsiteY25" fmla="*/ 274140 h 480000"/>
              <a:gd name="connsiteX26" fmla="*/ 304136 w 399999"/>
              <a:gd name="connsiteY26" fmla="*/ 174140 h 480000"/>
              <a:gd name="connsiteX27" fmla="*/ 304136 w 399999"/>
              <a:gd name="connsiteY27" fmla="*/ 145856 h 480000"/>
              <a:gd name="connsiteX28" fmla="*/ 275852 w 399999"/>
              <a:gd name="connsiteY28" fmla="*/ 145856 h 480000"/>
              <a:gd name="connsiteX29" fmla="*/ 189994 w 399999"/>
              <a:gd name="connsiteY29" fmla="*/ 231714 h 48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399999" h="480000">
                <a:moveTo>
                  <a:pt x="209713" y="477483"/>
                </a:moveTo>
                <a:cubicBezTo>
                  <a:pt x="203673" y="480839"/>
                  <a:pt x="196329" y="480839"/>
                  <a:pt x="190288" y="477484"/>
                </a:cubicBezTo>
                <a:lnTo>
                  <a:pt x="92565" y="423202"/>
                </a:lnTo>
                <a:cubicBezTo>
                  <a:pt x="35436" y="391453"/>
                  <a:pt x="0" y="331221"/>
                  <a:pt x="0" y="265860"/>
                </a:cubicBezTo>
                <a:lnTo>
                  <a:pt x="0" y="20000"/>
                </a:lnTo>
                <a:cubicBezTo>
                  <a:pt x="0" y="8954"/>
                  <a:pt x="8954" y="0"/>
                  <a:pt x="20000" y="0"/>
                </a:cubicBezTo>
                <a:lnTo>
                  <a:pt x="380000" y="0"/>
                </a:lnTo>
                <a:cubicBezTo>
                  <a:pt x="391046" y="0"/>
                  <a:pt x="400000" y="8954"/>
                  <a:pt x="400000" y="20000"/>
                </a:cubicBezTo>
                <a:lnTo>
                  <a:pt x="400000" y="265860"/>
                </a:lnTo>
                <a:cubicBezTo>
                  <a:pt x="400000" y="331227"/>
                  <a:pt x="364559" y="391458"/>
                  <a:pt x="307413" y="423203"/>
                </a:cubicBezTo>
                <a:lnTo>
                  <a:pt x="209713" y="477483"/>
                </a:lnTo>
                <a:close/>
                <a:moveTo>
                  <a:pt x="287987" y="388237"/>
                </a:moveTo>
                <a:lnTo>
                  <a:pt x="292685" y="385507"/>
                </a:lnTo>
                <a:cubicBezTo>
                  <a:pt x="334369" y="360194"/>
                  <a:pt x="360000" y="314884"/>
                  <a:pt x="360000" y="265860"/>
                </a:cubicBezTo>
                <a:lnTo>
                  <a:pt x="360000" y="40000"/>
                </a:lnTo>
                <a:lnTo>
                  <a:pt x="40000" y="40000"/>
                </a:lnTo>
                <a:lnTo>
                  <a:pt x="40000" y="265860"/>
                </a:lnTo>
                <a:cubicBezTo>
                  <a:pt x="40000" y="316696"/>
                  <a:pt x="67562" y="363545"/>
                  <a:pt x="111992" y="388236"/>
                </a:cubicBezTo>
                <a:lnTo>
                  <a:pt x="199999" y="437121"/>
                </a:lnTo>
                <a:lnTo>
                  <a:pt x="287987" y="388237"/>
                </a:lnTo>
                <a:close/>
                <a:moveTo>
                  <a:pt x="189994" y="231714"/>
                </a:moveTo>
                <a:lnTo>
                  <a:pt x="154136" y="195856"/>
                </a:lnTo>
                <a:cubicBezTo>
                  <a:pt x="146326" y="188045"/>
                  <a:pt x="133662" y="188045"/>
                  <a:pt x="125852" y="195856"/>
                </a:cubicBezTo>
                <a:cubicBezTo>
                  <a:pt x="118041" y="203666"/>
                  <a:pt x="118041" y="216330"/>
                  <a:pt x="125852" y="224140"/>
                </a:cubicBezTo>
                <a:lnTo>
                  <a:pt x="175852" y="274140"/>
                </a:lnTo>
                <a:cubicBezTo>
                  <a:pt x="183662" y="281951"/>
                  <a:pt x="196326" y="281951"/>
                  <a:pt x="204136" y="274140"/>
                </a:cubicBezTo>
                <a:lnTo>
                  <a:pt x="304136" y="174140"/>
                </a:lnTo>
                <a:cubicBezTo>
                  <a:pt x="311947" y="166330"/>
                  <a:pt x="311947" y="153666"/>
                  <a:pt x="304136" y="145856"/>
                </a:cubicBezTo>
                <a:cubicBezTo>
                  <a:pt x="296326" y="138045"/>
                  <a:pt x="283662" y="138045"/>
                  <a:pt x="275852" y="145856"/>
                </a:cubicBezTo>
                <a:lnTo>
                  <a:pt x="189994" y="231714"/>
                </a:lnTo>
                <a:close/>
              </a:path>
            </a:pathLst>
          </a:custGeom>
          <a:gradFill>
            <a:gsLst>
              <a:gs pos="0">
                <a:srgbClr val="00D756"/>
              </a:gs>
              <a:gs pos="99000">
                <a:srgbClr val="27C6E5"/>
              </a:gs>
            </a:gsLst>
            <a:lin ang="0" scaled="0"/>
          </a:gradFill>
          <a:ln w="19844" cap="flat">
            <a:noFill/>
            <a:prstDash val="solid"/>
            <a:miter/>
          </a:ln>
        </p:spPr>
        <p:txBody>
          <a:bodyPr rtlCol="0" anchor="ctr"/>
          <a:lstStyle/>
          <a:p>
            <a:endParaRPr lang="en-RU" sz="3200"/>
          </a:p>
        </p:txBody>
      </p:sp>
      <p:grpSp>
        <p:nvGrpSpPr>
          <p:cNvPr id="55" name="Graphic 5">
            <a:extLst>
              <a:ext uri="{FF2B5EF4-FFF2-40B4-BE49-F238E27FC236}">
                <a16:creationId xmlns:a16="http://schemas.microsoft.com/office/drawing/2014/main" id="{FBF619FC-049B-7C45-BCD2-9404ED2E1AE8}"/>
              </a:ext>
            </a:extLst>
          </p:cNvPr>
          <p:cNvGrpSpPr>
            <a:grpSpLocks noChangeAspect="1"/>
          </p:cNvGrpSpPr>
          <p:nvPr/>
        </p:nvGrpSpPr>
        <p:grpSpPr>
          <a:xfrm>
            <a:off x="2254179" y="2945164"/>
            <a:ext cx="1007934" cy="1007934"/>
            <a:chOff x="3771900" y="1102995"/>
            <a:chExt cx="4668202" cy="4668202"/>
          </a:xfrm>
          <a:solidFill>
            <a:srgbClr val="000000"/>
          </a:solidFill>
        </p:grpSpPr>
        <p:sp>
          <p:nvSpPr>
            <p:cNvPr id="56" name="Freeform 55">
              <a:extLst>
                <a:ext uri="{FF2B5EF4-FFF2-40B4-BE49-F238E27FC236}">
                  <a16:creationId xmlns:a16="http://schemas.microsoft.com/office/drawing/2014/main" id="{73D80FD4-17B5-8B46-A2CA-C17069117599}"/>
                </a:ext>
              </a:extLst>
            </p:cNvPr>
            <p:cNvSpPr/>
            <p:nvPr/>
          </p:nvSpPr>
          <p:spPr>
            <a:xfrm>
              <a:off x="3771900" y="1102995"/>
              <a:ext cx="4668202" cy="3130575"/>
            </a:xfrm>
            <a:custGeom>
              <a:avLst/>
              <a:gdLst>
                <a:gd name="connsiteX0" fmla="*/ 4109085 w 4668202"/>
                <a:gd name="connsiteY0" fmla="*/ 1479233 h 3130575"/>
                <a:gd name="connsiteX1" fmla="*/ 3125153 w 4668202"/>
                <a:gd name="connsiteY1" fmla="*/ 584835 h 3130575"/>
                <a:gd name="connsiteX2" fmla="*/ 2730818 w 4668202"/>
                <a:gd name="connsiteY2" fmla="*/ 665798 h 3130575"/>
                <a:gd name="connsiteX3" fmla="*/ 1521143 w 4668202"/>
                <a:gd name="connsiteY3" fmla="*/ 0 h 3130575"/>
                <a:gd name="connsiteX4" fmla="*/ 102870 w 4668202"/>
                <a:gd name="connsiteY4" fmla="*/ 1393508 h 3130575"/>
                <a:gd name="connsiteX5" fmla="*/ 162878 w 4668202"/>
                <a:gd name="connsiteY5" fmla="*/ 1791653 h 3130575"/>
                <a:gd name="connsiteX6" fmla="*/ 0 w 4668202"/>
                <a:gd name="connsiteY6" fmla="*/ 2301240 h 3130575"/>
                <a:gd name="connsiteX7" fmla="*/ 389573 w 4668202"/>
                <a:gd name="connsiteY7" fmla="*/ 3032760 h 3130575"/>
                <a:gd name="connsiteX8" fmla="*/ 660083 w 4668202"/>
                <a:gd name="connsiteY8" fmla="*/ 2981325 h 3130575"/>
                <a:gd name="connsiteX9" fmla="*/ 608648 w 4668202"/>
                <a:gd name="connsiteY9" fmla="*/ 2710815 h 3130575"/>
                <a:gd name="connsiteX10" fmla="*/ 388620 w 4668202"/>
                <a:gd name="connsiteY10" fmla="*/ 2300288 h 3130575"/>
                <a:gd name="connsiteX11" fmla="*/ 523875 w 4668202"/>
                <a:gd name="connsiteY11" fmla="*/ 1963103 h 3130575"/>
                <a:gd name="connsiteX12" fmla="*/ 562928 w 4668202"/>
                <a:gd name="connsiteY12" fmla="*/ 1757363 h 3130575"/>
                <a:gd name="connsiteX13" fmla="*/ 491490 w 4668202"/>
                <a:gd name="connsiteY13" fmla="*/ 1392555 h 3130575"/>
                <a:gd name="connsiteX14" fmla="*/ 1521143 w 4668202"/>
                <a:gd name="connsiteY14" fmla="*/ 387668 h 3130575"/>
                <a:gd name="connsiteX15" fmla="*/ 2472690 w 4668202"/>
                <a:gd name="connsiteY15" fmla="*/ 1008698 h 3130575"/>
                <a:gd name="connsiteX16" fmla="*/ 2767013 w 4668202"/>
                <a:gd name="connsiteY16" fmla="*/ 1089660 h 3130575"/>
                <a:gd name="connsiteX17" fmla="*/ 3126105 w 4668202"/>
                <a:gd name="connsiteY17" fmla="*/ 972503 h 3130575"/>
                <a:gd name="connsiteX18" fmla="*/ 3723323 w 4668202"/>
                <a:gd name="connsiteY18" fmla="*/ 1553528 h 3130575"/>
                <a:gd name="connsiteX19" fmla="*/ 3873818 w 4668202"/>
                <a:gd name="connsiteY19" fmla="*/ 1810703 h 3130575"/>
                <a:gd name="connsiteX20" fmla="*/ 4278630 w 4668202"/>
                <a:gd name="connsiteY20" fmla="*/ 2299335 h 3130575"/>
                <a:gd name="connsiteX21" fmla="*/ 3965258 w 4668202"/>
                <a:gd name="connsiteY21" fmla="*/ 2760345 h 3130575"/>
                <a:gd name="connsiteX22" fmla="*/ 3860483 w 4668202"/>
                <a:gd name="connsiteY22" fmla="*/ 3014663 h 3130575"/>
                <a:gd name="connsiteX23" fmla="*/ 4114800 w 4668202"/>
                <a:gd name="connsiteY23" fmla="*/ 3119438 h 3130575"/>
                <a:gd name="connsiteX24" fmla="*/ 4668203 w 4668202"/>
                <a:gd name="connsiteY24" fmla="*/ 2299335 h 3130575"/>
                <a:gd name="connsiteX25" fmla="*/ 4109085 w 4668202"/>
                <a:gd name="connsiteY25" fmla="*/ 1479233 h 3130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4668202" h="3130575">
                  <a:moveTo>
                    <a:pt x="4109085" y="1479233"/>
                  </a:moveTo>
                  <a:cubicBezTo>
                    <a:pt x="4069080" y="980123"/>
                    <a:pt x="3643313" y="584835"/>
                    <a:pt x="3125153" y="584835"/>
                  </a:cubicBezTo>
                  <a:cubicBezTo>
                    <a:pt x="2987993" y="584835"/>
                    <a:pt x="2853690" y="612458"/>
                    <a:pt x="2730818" y="665798"/>
                  </a:cubicBezTo>
                  <a:cubicBezTo>
                    <a:pt x="2475548" y="255270"/>
                    <a:pt x="2021205" y="0"/>
                    <a:pt x="1521143" y="0"/>
                  </a:cubicBezTo>
                  <a:cubicBezTo>
                    <a:pt x="739140" y="0"/>
                    <a:pt x="102870" y="624840"/>
                    <a:pt x="102870" y="1393508"/>
                  </a:cubicBezTo>
                  <a:cubicBezTo>
                    <a:pt x="102870" y="1528763"/>
                    <a:pt x="122873" y="1662113"/>
                    <a:pt x="162878" y="1791653"/>
                  </a:cubicBezTo>
                  <a:cubicBezTo>
                    <a:pt x="57150" y="1941195"/>
                    <a:pt x="0" y="2118360"/>
                    <a:pt x="0" y="2301240"/>
                  </a:cubicBezTo>
                  <a:cubicBezTo>
                    <a:pt x="0" y="2592705"/>
                    <a:pt x="145733" y="2867025"/>
                    <a:pt x="389573" y="3032760"/>
                  </a:cubicBezTo>
                  <a:cubicBezTo>
                    <a:pt x="478155" y="3093720"/>
                    <a:pt x="599123" y="3069908"/>
                    <a:pt x="660083" y="2981325"/>
                  </a:cubicBezTo>
                  <a:cubicBezTo>
                    <a:pt x="721043" y="2892743"/>
                    <a:pt x="697230" y="2771775"/>
                    <a:pt x="608648" y="2710815"/>
                  </a:cubicBezTo>
                  <a:cubicBezTo>
                    <a:pt x="470535" y="2616518"/>
                    <a:pt x="388620" y="2463165"/>
                    <a:pt x="388620" y="2300288"/>
                  </a:cubicBezTo>
                  <a:cubicBezTo>
                    <a:pt x="388620" y="2175510"/>
                    <a:pt x="436245" y="2056448"/>
                    <a:pt x="523875" y="1963103"/>
                  </a:cubicBezTo>
                  <a:cubicBezTo>
                    <a:pt x="575310" y="1907858"/>
                    <a:pt x="590550" y="1827848"/>
                    <a:pt x="562928" y="1757363"/>
                  </a:cubicBezTo>
                  <a:cubicBezTo>
                    <a:pt x="515303" y="1639253"/>
                    <a:pt x="491490" y="1516380"/>
                    <a:pt x="491490" y="1392555"/>
                  </a:cubicBezTo>
                  <a:cubicBezTo>
                    <a:pt x="491490" y="838200"/>
                    <a:pt x="953453" y="387668"/>
                    <a:pt x="1521143" y="387668"/>
                  </a:cubicBezTo>
                  <a:cubicBezTo>
                    <a:pt x="1939290" y="387668"/>
                    <a:pt x="2317433" y="629603"/>
                    <a:pt x="2472690" y="1008698"/>
                  </a:cubicBezTo>
                  <a:cubicBezTo>
                    <a:pt x="2534603" y="1160145"/>
                    <a:pt x="2675573" y="1185863"/>
                    <a:pt x="2767013" y="1089660"/>
                  </a:cubicBezTo>
                  <a:cubicBezTo>
                    <a:pt x="2856548" y="995363"/>
                    <a:pt x="2995613" y="972503"/>
                    <a:pt x="3126105" y="972503"/>
                  </a:cubicBezTo>
                  <a:cubicBezTo>
                    <a:pt x="3455670" y="972503"/>
                    <a:pt x="3723323" y="1233488"/>
                    <a:pt x="3723323" y="1553528"/>
                  </a:cubicBezTo>
                  <a:cubicBezTo>
                    <a:pt x="3723323" y="1671638"/>
                    <a:pt x="3728085" y="1776413"/>
                    <a:pt x="3873818" y="1810703"/>
                  </a:cubicBezTo>
                  <a:cubicBezTo>
                    <a:pt x="4107180" y="1864043"/>
                    <a:pt x="4278630" y="2065973"/>
                    <a:pt x="4278630" y="2299335"/>
                  </a:cubicBezTo>
                  <a:cubicBezTo>
                    <a:pt x="4278630" y="2500313"/>
                    <a:pt x="4155758" y="2681288"/>
                    <a:pt x="3965258" y="2760345"/>
                  </a:cubicBezTo>
                  <a:cubicBezTo>
                    <a:pt x="3866198" y="2801303"/>
                    <a:pt x="3820478" y="2914650"/>
                    <a:pt x="3860483" y="3014663"/>
                  </a:cubicBezTo>
                  <a:cubicBezTo>
                    <a:pt x="3919538" y="3165158"/>
                    <a:pt x="4090035" y="3129915"/>
                    <a:pt x="4114800" y="3119438"/>
                  </a:cubicBezTo>
                  <a:cubicBezTo>
                    <a:pt x="4451033" y="2980373"/>
                    <a:pt x="4668203" y="2658428"/>
                    <a:pt x="4668203" y="2299335"/>
                  </a:cubicBezTo>
                  <a:cubicBezTo>
                    <a:pt x="4667250" y="1939290"/>
                    <a:pt x="4440555" y="1615440"/>
                    <a:pt x="4109085" y="1479233"/>
                  </a:cubicBezTo>
                  <a:close/>
                </a:path>
              </a:pathLst>
            </a:custGeom>
            <a:gradFill>
              <a:gsLst>
                <a:gs pos="0">
                  <a:srgbClr val="00D756"/>
                </a:gs>
                <a:gs pos="99000">
                  <a:srgbClr val="27C6E5"/>
                </a:gs>
              </a:gsLst>
              <a:lin ang="0" scaled="0"/>
            </a:gradFill>
            <a:ln w="198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182868" tIns="91434" rIns="182868" bIns="9143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RU" sz="3200"/>
            </a:p>
          </p:txBody>
        </p:sp>
        <p:sp>
          <p:nvSpPr>
            <p:cNvPr id="57" name="Freeform 56">
              <a:extLst>
                <a:ext uri="{FF2B5EF4-FFF2-40B4-BE49-F238E27FC236}">
                  <a16:creationId xmlns:a16="http://schemas.microsoft.com/office/drawing/2014/main" id="{CB06B1F5-92AF-6242-AD32-B5D46E3CD002}"/>
                </a:ext>
              </a:extLst>
            </p:cNvPr>
            <p:cNvSpPr/>
            <p:nvPr/>
          </p:nvSpPr>
          <p:spPr>
            <a:xfrm>
              <a:off x="4530854" y="3298983"/>
              <a:ext cx="3006691" cy="2472213"/>
            </a:xfrm>
            <a:custGeom>
              <a:avLst/>
              <a:gdLst>
                <a:gd name="connsiteX0" fmla="*/ 2156648 w 3006691"/>
                <a:gd name="connsiteY0" fmla="*/ 2084546 h 2472213"/>
                <a:gd name="connsiteX1" fmla="*/ 849818 w 3006691"/>
                <a:gd name="connsiteY1" fmla="*/ 2084546 h 2472213"/>
                <a:gd name="connsiteX2" fmla="*/ 849818 w 3006691"/>
                <a:gd name="connsiteY2" fmla="*/ 982504 h 2472213"/>
                <a:gd name="connsiteX3" fmla="*/ 1503233 w 3006691"/>
                <a:gd name="connsiteY3" fmla="*/ 446246 h 2472213"/>
                <a:gd name="connsiteX4" fmla="*/ 2156648 w 3006691"/>
                <a:gd name="connsiteY4" fmla="*/ 982504 h 2472213"/>
                <a:gd name="connsiteX5" fmla="*/ 2156648 w 3006691"/>
                <a:gd name="connsiteY5" fmla="*/ 2084546 h 2472213"/>
                <a:gd name="connsiteX6" fmla="*/ 2935793 w 3006691"/>
                <a:gd name="connsiteY6" fmla="*/ 1119664 h 2472213"/>
                <a:gd name="connsiteX7" fmla="*/ 1626105 w 3006691"/>
                <a:gd name="connsiteY7" fmla="*/ 44291 h 2472213"/>
                <a:gd name="connsiteX8" fmla="*/ 1379408 w 3006691"/>
                <a:gd name="connsiteY8" fmla="*/ 44291 h 2472213"/>
                <a:gd name="connsiteX9" fmla="*/ 70673 w 3006691"/>
                <a:gd name="connsiteY9" fmla="*/ 1119664 h 2472213"/>
                <a:gd name="connsiteX10" fmla="*/ 44003 w 3006691"/>
                <a:gd name="connsiteY10" fmla="*/ 1393031 h 2472213"/>
                <a:gd name="connsiteX11" fmla="*/ 317370 w 3006691"/>
                <a:gd name="connsiteY11" fmla="*/ 1419701 h 2472213"/>
                <a:gd name="connsiteX12" fmla="*/ 460245 w 3006691"/>
                <a:gd name="connsiteY12" fmla="*/ 1301591 h 2472213"/>
                <a:gd name="connsiteX13" fmla="*/ 460245 w 3006691"/>
                <a:gd name="connsiteY13" fmla="*/ 2277904 h 2472213"/>
                <a:gd name="connsiteX14" fmla="*/ 654555 w 3006691"/>
                <a:gd name="connsiteY14" fmla="*/ 2472214 h 2472213"/>
                <a:gd name="connsiteX15" fmla="*/ 2350006 w 3006691"/>
                <a:gd name="connsiteY15" fmla="*/ 2472214 h 2472213"/>
                <a:gd name="connsiteX16" fmla="*/ 2544315 w 3006691"/>
                <a:gd name="connsiteY16" fmla="*/ 2277904 h 2472213"/>
                <a:gd name="connsiteX17" fmla="*/ 2544315 w 3006691"/>
                <a:gd name="connsiteY17" fmla="*/ 1301591 h 2472213"/>
                <a:gd name="connsiteX18" fmla="*/ 2688143 w 3006691"/>
                <a:gd name="connsiteY18" fmla="*/ 1419701 h 2472213"/>
                <a:gd name="connsiteX19" fmla="*/ 2961511 w 3006691"/>
                <a:gd name="connsiteY19" fmla="*/ 1393031 h 2472213"/>
                <a:gd name="connsiteX20" fmla="*/ 2935793 w 3006691"/>
                <a:gd name="connsiteY20" fmla="*/ 1119664 h 2472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006691" h="2472213">
                  <a:moveTo>
                    <a:pt x="2156648" y="2084546"/>
                  </a:moveTo>
                  <a:lnTo>
                    <a:pt x="849818" y="2084546"/>
                  </a:lnTo>
                  <a:lnTo>
                    <a:pt x="849818" y="982504"/>
                  </a:lnTo>
                  <a:lnTo>
                    <a:pt x="1503233" y="446246"/>
                  </a:lnTo>
                  <a:lnTo>
                    <a:pt x="2156648" y="982504"/>
                  </a:lnTo>
                  <a:lnTo>
                    <a:pt x="2156648" y="2084546"/>
                  </a:lnTo>
                  <a:close/>
                  <a:moveTo>
                    <a:pt x="2935793" y="1119664"/>
                  </a:moveTo>
                  <a:lnTo>
                    <a:pt x="1626105" y="44291"/>
                  </a:lnTo>
                  <a:cubicBezTo>
                    <a:pt x="1554668" y="-14764"/>
                    <a:pt x="1450846" y="-14764"/>
                    <a:pt x="1379408" y="44291"/>
                  </a:cubicBezTo>
                  <a:lnTo>
                    <a:pt x="70673" y="1119664"/>
                  </a:lnTo>
                  <a:cubicBezTo>
                    <a:pt x="-12195" y="1188244"/>
                    <a:pt x="-23625" y="1309211"/>
                    <a:pt x="44003" y="1393031"/>
                  </a:cubicBezTo>
                  <a:cubicBezTo>
                    <a:pt x="130680" y="1502569"/>
                    <a:pt x="281175" y="1450181"/>
                    <a:pt x="317370" y="1419701"/>
                  </a:cubicBezTo>
                  <a:lnTo>
                    <a:pt x="460245" y="1301591"/>
                  </a:lnTo>
                  <a:lnTo>
                    <a:pt x="460245" y="2277904"/>
                  </a:lnTo>
                  <a:cubicBezTo>
                    <a:pt x="460245" y="2385536"/>
                    <a:pt x="546923" y="2472214"/>
                    <a:pt x="654555" y="2472214"/>
                  </a:cubicBezTo>
                  <a:lnTo>
                    <a:pt x="2350006" y="2472214"/>
                  </a:lnTo>
                  <a:cubicBezTo>
                    <a:pt x="2457638" y="2472214"/>
                    <a:pt x="2544315" y="2385536"/>
                    <a:pt x="2544315" y="2277904"/>
                  </a:cubicBezTo>
                  <a:lnTo>
                    <a:pt x="2544315" y="1301591"/>
                  </a:lnTo>
                  <a:lnTo>
                    <a:pt x="2688143" y="1419701"/>
                  </a:lnTo>
                  <a:cubicBezTo>
                    <a:pt x="2771011" y="1488281"/>
                    <a:pt x="2893883" y="1475899"/>
                    <a:pt x="2961511" y="1393031"/>
                  </a:cubicBezTo>
                  <a:cubicBezTo>
                    <a:pt x="3031043" y="1310164"/>
                    <a:pt x="3018661" y="1187291"/>
                    <a:pt x="2935793" y="1119664"/>
                  </a:cubicBezTo>
                  <a:close/>
                </a:path>
              </a:pathLst>
            </a:custGeom>
            <a:gradFill>
              <a:gsLst>
                <a:gs pos="0">
                  <a:srgbClr val="00D756"/>
                </a:gs>
                <a:gs pos="99000">
                  <a:srgbClr val="27C6E5"/>
                </a:gs>
              </a:gsLst>
              <a:lin ang="0" scaled="0"/>
            </a:gradFill>
            <a:ln w="19844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182868" tIns="91434" rIns="182868" bIns="91434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RU" sz="3200"/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6DE333FD-C0C0-B142-A39D-F14A6EDFDFCF}"/>
              </a:ext>
            </a:extLst>
          </p:cNvPr>
          <p:cNvSpPr/>
          <p:nvPr/>
        </p:nvSpPr>
        <p:spPr>
          <a:xfrm>
            <a:off x="3678583" y="3073297"/>
            <a:ext cx="652821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/>
              <a:t>Работает в облаке или в контуре предприятия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8AC8139-DE4C-6643-B3B2-C46CC144C605}"/>
              </a:ext>
            </a:extLst>
          </p:cNvPr>
          <p:cNvSpPr/>
          <p:nvPr/>
        </p:nvSpPr>
        <p:spPr>
          <a:xfrm>
            <a:off x="13911661" y="3134014"/>
            <a:ext cx="612027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/>
              <a:t>Надёжная </a:t>
            </a:r>
            <a:r>
              <a:rPr lang="ru-RU" sz="2800" dirty="0" err="1"/>
              <a:t>киберзащита</a:t>
            </a:r>
            <a:r>
              <a:rPr lang="ru-RU" sz="2800" dirty="0"/>
              <a:t> от </a:t>
            </a:r>
            <a:r>
              <a:rPr lang="en-US" sz="2800" dirty="0"/>
              <a:t>BI.ZONE</a:t>
            </a:r>
            <a:endParaRPr lang="ru-RU" sz="2800" dirty="0"/>
          </a:p>
        </p:txBody>
      </p:sp>
      <p:sp>
        <p:nvSpPr>
          <p:cNvPr id="44" name="Скругленный прямоугольник 43">
            <a:extLst>
              <a:ext uri="{FF2B5EF4-FFF2-40B4-BE49-F238E27FC236}">
                <a16:creationId xmlns:a16="http://schemas.microsoft.com/office/drawing/2014/main" id="{74A06CDE-E12C-A948-AA2A-8E0D66308B52}"/>
              </a:ext>
            </a:extLst>
          </p:cNvPr>
          <p:cNvSpPr/>
          <p:nvPr/>
        </p:nvSpPr>
        <p:spPr>
          <a:xfrm>
            <a:off x="1090837" y="11201082"/>
            <a:ext cx="9874817" cy="952492"/>
          </a:xfrm>
          <a:prstGeom prst="roundRect">
            <a:avLst/>
          </a:prstGeom>
          <a:solidFill>
            <a:srgbClr val="F0F0F0">
              <a:alpha val="50000"/>
            </a:srgbClr>
          </a:solidFill>
          <a:ln>
            <a:noFill/>
          </a:ln>
          <a:effectLst/>
        </p:spPr>
        <p:txBody>
          <a:bodyPr rtlCol="0" anchor="ctr"/>
          <a:lstStyle/>
          <a:p>
            <a:pPr algn="ctr" defTabSz="1828709">
              <a:defRPr/>
            </a:pPr>
            <a:r>
              <a:rPr lang="ru-RU" sz="2800" dirty="0"/>
              <a:t>Включен в реестр Отечественного ПО</a:t>
            </a:r>
            <a:endParaRPr lang="en-US" sz="2800" dirty="0"/>
          </a:p>
          <a:p>
            <a:pPr algn="ctr"/>
            <a:r>
              <a:rPr lang="ru-RU" sz="2800" dirty="0"/>
              <a:t>Запись в реестре №14737 от 05.09.2022</a:t>
            </a:r>
          </a:p>
        </p:txBody>
      </p:sp>
      <p:sp>
        <p:nvSpPr>
          <p:cNvPr id="47" name="Rectangle 13">
            <a:extLst>
              <a:ext uri="{FF2B5EF4-FFF2-40B4-BE49-F238E27FC236}">
                <a16:creationId xmlns:a16="http://schemas.microsoft.com/office/drawing/2014/main" id="{CABB30BF-8DE5-8D46-9ACE-CFF464509A73}"/>
              </a:ext>
            </a:extLst>
          </p:cNvPr>
          <p:cNvSpPr/>
          <p:nvPr/>
        </p:nvSpPr>
        <p:spPr>
          <a:xfrm>
            <a:off x="596157" y="12816177"/>
            <a:ext cx="1040060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/>
              <a:t>Узнать подробнее: </a:t>
            </a:r>
            <a:r>
              <a:rPr lang="en-US" sz="2400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evelopers.sber.ru/portal/solutions/jazz-by-sber</a:t>
            </a:r>
            <a:r>
              <a:rPr lang="ru-RU" sz="2400" dirty="0"/>
              <a:t> </a:t>
            </a:r>
            <a:endParaRPr lang="en-US" sz="2400" dirty="0"/>
          </a:p>
        </p:txBody>
      </p:sp>
      <p:grpSp>
        <p:nvGrpSpPr>
          <p:cNvPr id="48" name="Group 49">
            <a:extLst>
              <a:ext uri="{FF2B5EF4-FFF2-40B4-BE49-F238E27FC236}">
                <a16:creationId xmlns:a16="http://schemas.microsoft.com/office/drawing/2014/main" id="{36482EC0-E2DD-E949-87A1-009489487F03}"/>
              </a:ext>
            </a:extLst>
          </p:cNvPr>
          <p:cNvGrpSpPr/>
          <p:nvPr/>
        </p:nvGrpSpPr>
        <p:grpSpPr>
          <a:xfrm>
            <a:off x="1875904" y="4662848"/>
            <a:ext cx="7777388" cy="1439906"/>
            <a:chOff x="439380" y="1459885"/>
            <a:chExt cx="3888947" cy="720000"/>
          </a:xfrm>
        </p:grpSpPr>
        <p:sp>
          <p:nvSpPr>
            <p:cNvPr id="49" name="Rounded Rectangle 43">
              <a:extLst>
                <a:ext uri="{FF2B5EF4-FFF2-40B4-BE49-F238E27FC236}">
                  <a16:creationId xmlns:a16="http://schemas.microsoft.com/office/drawing/2014/main" id="{40E52270-F410-7046-938E-786B3477D6F9}"/>
                </a:ext>
              </a:extLst>
            </p:cNvPr>
            <p:cNvSpPr/>
            <p:nvPr/>
          </p:nvSpPr>
          <p:spPr>
            <a:xfrm>
              <a:off x="439380" y="1459885"/>
              <a:ext cx="3888947" cy="720000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799883" rtlCol="0" anchor="ctr"/>
            <a:lstStyle/>
            <a:p>
              <a:r>
                <a:rPr lang="ru-RU" sz="2800" dirty="0">
                  <a:solidFill>
                    <a:schemeClr val="tx1"/>
                  </a:solidFill>
                </a:rPr>
                <a:t>Система развертывается полностью в контуре заказчика</a:t>
              </a:r>
            </a:p>
          </p:txBody>
        </p:sp>
        <p:sp>
          <p:nvSpPr>
            <p:cNvPr id="50" name="Graphic 37">
              <a:extLst>
                <a:ext uri="{FF2B5EF4-FFF2-40B4-BE49-F238E27FC236}">
                  <a16:creationId xmlns:a16="http://schemas.microsoft.com/office/drawing/2014/main" id="{8E0F3D7C-851E-3048-9219-2FF40FAF5342}"/>
                </a:ext>
              </a:extLst>
            </p:cNvPr>
            <p:cNvSpPr/>
            <p:nvPr/>
          </p:nvSpPr>
          <p:spPr>
            <a:xfrm>
              <a:off x="741918" y="1579885"/>
              <a:ext cx="399999" cy="480000"/>
            </a:xfrm>
            <a:custGeom>
              <a:avLst/>
              <a:gdLst>
                <a:gd name="connsiteX0" fmla="*/ 209713 w 399999"/>
                <a:gd name="connsiteY0" fmla="*/ 477483 h 480000"/>
                <a:gd name="connsiteX1" fmla="*/ 190288 w 399999"/>
                <a:gd name="connsiteY1" fmla="*/ 477484 h 480000"/>
                <a:gd name="connsiteX2" fmla="*/ 92565 w 399999"/>
                <a:gd name="connsiteY2" fmla="*/ 423202 h 480000"/>
                <a:gd name="connsiteX3" fmla="*/ 0 w 399999"/>
                <a:gd name="connsiteY3" fmla="*/ 265860 h 480000"/>
                <a:gd name="connsiteX4" fmla="*/ 0 w 399999"/>
                <a:gd name="connsiteY4" fmla="*/ 20000 h 480000"/>
                <a:gd name="connsiteX5" fmla="*/ 20000 w 399999"/>
                <a:gd name="connsiteY5" fmla="*/ 0 h 480000"/>
                <a:gd name="connsiteX6" fmla="*/ 380000 w 399999"/>
                <a:gd name="connsiteY6" fmla="*/ 0 h 480000"/>
                <a:gd name="connsiteX7" fmla="*/ 400000 w 399999"/>
                <a:gd name="connsiteY7" fmla="*/ 20000 h 480000"/>
                <a:gd name="connsiteX8" fmla="*/ 400000 w 399999"/>
                <a:gd name="connsiteY8" fmla="*/ 265860 h 480000"/>
                <a:gd name="connsiteX9" fmla="*/ 307413 w 399999"/>
                <a:gd name="connsiteY9" fmla="*/ 423203 h 480000"/>
                <a:gd name="connsiteX10" fmla="*/ 209713 w 399999"/>
                <a:gd name="connsiteY10" fmla="*/ 477483 h 480000"/>
                <a:gd name="connsiteX11" fmla="*/ 287987 w 399999"/>
                <a:gd name="connsiteY11" fmla="*/ 388237 h 480000"/>
                <a:gd name="connsiteX12" fmla="*/ 292685 w 399999"/>
                <a:gd name="connsiteY12" fmla="*/ 385507 h 480000"/>
                <a:gd name="connsiteX13" fmla="*/ 360000 w 399999"/>
                <a:gd name="connsiteY13" fmla="*/ 265860 h 480000"/>
                <a:gd name="connsiteX14" fmla="*/ 360000 w 399999"/>
                <a:gd name="connsiteY14" fmla="*/ 40000 h 480000"/>
                <a:gd name="connsiteX15" fmla="*/ 40000 w 399999"/>
                <a:gd name="connsiteY15" fmla="*/ 40000 h 480000"/>
                <a:gd name="connsiteX16" fmla="*/ 40000 w 399999"/>
                <a:gd name="connsiteY16" fmla="*/ 265860 h 480000"/>
                <a:gd name="connsiteX17" fmla="*/ 111992 w 399999"/>
                <a:gd name="connsiteY17" fmla="*/ 388236 h 480000"/>
                <a:gd name="connsiteX18" fmla="*/ 199999 w 399999"/>
                <a:gd name="connsiteY18" fmla="*/ 437121 h 480000"/>
                <a:gd name="connsiteX19" fmla="*/ 287987 w 399999"/>
                <a:gd name="connsiteY19" fmla="*/ 388237 h 480000"/>
                <a:gd name="connsiteX20" fmla="*/ 189994 w 399999"/>
                <a:gd name="connsiteY20" fmla="*/ 231714 h 480000"/>
                <a:gd name="connsiteX21" fmla="*/ 154136 w 399999"/>
                <a:gd name="connsiteY21" fmla="*/ 195856 h 480000"/>
                <a:gd name="connsiteX22" fmla="*/ 125852 w 399999"/>
                <a:gd name="connsiteY22" fmla="*/ 195856 h 480000"/>
                <a:gd name="connsiteX23" fmla="*/ 125852 w 399999"/>
                <a:gd name="connsiteY23" fmla="*/ 224140 h 480000"/>
                <a:gd name="connsiteX24" fmla="*/ 175852 w 399999"/>
                <a:gd name="connsiteY24" fmla="*/ 274140 h 480000"/>
                <a:gd name="connsiteX25" fmla="*/ 204136 w 399999"/>
                <a:gd name="connsiteY25" fmla="*/ 274140 h 480000"/>
                <a:gd name="connsiteX26" fmla="*/ 304136 w 399999"/>
                <a:gd name="connsiteY26" fmla="*/ 174140 h 480000"/>
                <a:gd name="connsiteX27" fmla="*/ 304136 w 399999"/>
                <a:gd name="connsiteY27" fmla="*/ 145856 h 480000"/>
                <a:gd name="connsiteX28" fmla="*/ 275852 w 399999"/>
                <a:gd name="connsiteY28" fmla="*/ 145856 h 480000"/>
                <a:gd name="connsiteX29" fmla="*/ 189994 w 399999"/>
                <a:gd name="connsiteY29" fmla="*/ 231714 h 48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99999" h="480000">
                  <a:moveTo>
                    <a:pt x="209713" y="477483"/>
                  </a:moveTo>
                  <a:cubicBezTo>
                    <a:pt x="203673" y="480839"/>
                    <a:pt x="196329" y="480839"/>
                    <a:pt x="190288" y="477484"/>
                  </a:cubicBezTo>
                  <a:lnTo>
                    <a:pt x="92565" y="423202"/>
                  </a:lnTo>
                  <a:cubicBezTo>
                    <a:pt x="35436" y="391453"/>
                    <a:pt x="0" y="331221"/>
                    <a:pt x="0" y="265860"/>
                  </a:cubicBezTo>
                  <a:lnTo>
                    <a:pt x="0" y="20000"/>
                  </a:lnTo>
                  <a:cubicBezTo>
                    <a:pt x="0" y="8954"/>
                    <a:pt x="8954" y="0"/>
                    <a:pt x="20000" y="0"/>
                  </a:cubicBezTo>
                  <a:lnTo>
                    <a:pt x="380000" y="0"/>
                  </a:lnTo>
                  <a:cubicBezTo>
                    <a:pt x="391046" y="0"/>
                    <a:pt x="400000" y="8954"/>
                    <a:pt x="400000" y="20000"/>
                  </a:cubicBezTo>
                  <a:lnTo>
                    <a:pt x="400000" y="265860"/>
                  </a:lnTo>
                  <a:cubicBezTo>
                    <a:pt x="400000" y="331227"/>
                    <a:pt x="364559" y="391458"/>
                    <a:pt x="307413" y="423203"/>
                  </a:cubicBezTo>
                  <a:lnTo>
                    <a:pt x="209713" y="477483"/>
                  </a:lnTo>
                  <a:close/>
                  <a:moveTo>
                    <a:pt x="287987" y="388237"/>
                  </a:moveTo>
                  <a:lnTo>
                    <a:pt x="292685" y="385507"/>
                  </a:lnTo>
                  <a:cubicBezTo>
                    <a:pt x="334369" y="360194"/>
                    <a:pt x="360000" y="314884"/>
                    <a:pt x="360000" y="265860"/>
                  </a:cubicBezTo>
                  <a:lnTo>
                    <a:pt x="360000" y="40000"/>
                  </a:lnTo>
                  <a:lnTo>
                    <a:pt x="40000" y="40000"/>
                  </a:lnTo>
                  <a:lnTo>
                    <a:pt x="40000" y="265860"/>
                  </a:lnTo>
                  <a:cubicBezTo>
                    <a:pt x="40000" y="316696"/>
                    <a:pt x="67562" y="363545"/>
                    <a:pt x="111992" y="388236"/>
                  </a:cubicBezTo>
                  <a:lnTo>
                    <a:pt x="199999" y="437121"/>
                  </a:lnTo>
                  <a:lnTo>
                    <a:pt x="287987" y="388237"/>
                  </a:lnTo>
                  <a:close/>
                  <a:moveTo>
                    <a:pt x="189994" y="231714"/>
                  </a:moveTo>
                  <a:lnTo>
                    <a:pt x="154136" y="195856"/>
                  </a:lnTo>
                  <a:cubicBezTo>
                    <a:pt x="146326" y="188045"/>
                    <a:pt x="133662" y="188045"/>
                    <a:pt x="125852" y="195856"/>
                  </a:cubicBezTo>
                  <a:cubicBezTo>
                    <a:pt x="118041" y="203666"/>
                    <a:pt x="118041" y="216330"/>
                    <a:pt x="125852" y="224140"/>
                  </a:cubicBezTo>
                  <a:lnTo>
                    <a:pt x="175852" y="274140"/>
                  </a:lnTo>
                  <a:cubicBezTo>
                    <a:pt x="183662" y="281951"/>
                    <a:pt x="196326" y="281951"/>
                    <a:pt x="204136" y="274140"/>
                  </a:cubicBezTo>
                  <a:lnTo>
                    <a:pt x="304136" y="174140"/>
                  </a:lnTo>
                  <a:cubicBezTo>
                    <a:pt x="311947" y="166330"/>
                    <a:pt x="311947" y="153666"/>
                    <a:pt x="304136" y="145856"/>
                  </a:cubicBezTo>
                  <a:cubicBezTo>
                    <a:pt x="296326" y="138045"/>
                    <a:pt x="283662" y="138045"/>
                    <a:pt x="275852" y="145856"/>
                  </a:cubicBezTo>
                  <a:lnTo>
                    <a:pt x="189994" y="231714"/>
                  </a:lnTo>
                  <a:close/>
                </a:path>
              </a:pathLst>
            </a:custGeom>
            <a:gradFill>
              <a:gsLst>
                <a:gs pos="0">
                  <a:srgbClr val="00D756"/>
                </a:gs>
                <a:gs pos="99000">
                  <a:srgbClr val="27C6E5"/>
                </a:gs>
              </a:gsLst>
              <a:lin ang="0" scaled="0"/>
            </a:gradFill>
            <a:ln w="19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2800"/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9246098D-3849-A24C-ABAF-034E9F975D79}"/>
              </a:ext>
            </a:extLst>
          </p:cNvPr>
          <p:cNvGrpSpPr/>
          <p:nvPr/>
        </p:nvGrpSpPr>
        <p:grpSpPr>
          <a:xfrm>
            <a:off x="9875143" y="4662848"/>
            <a:ext cx="12341320" cy="1439906"/>
            <a:chOff x="439381" y="2382908"/>
            <a:chExt cx="6171062" cy="720000"/>
          </a:xfrm>
        </p:grpSpPr>
        <p:sp>
          <p:nvSpPr>
            <p:cNvPr id="52" name="Graphic 37">
              <a:extLst>
                <a:ext uri="{FF2B5EF4-FFF2-40B4-BE49-F238E27FC236}">
                  <a16:creationId xmlns:a16="http://schemas.microsoft.com/office/drawing/2014/main" id="{1B2325B8-F7DE-5246-B3DB-15B0B8A8B4E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7913" y="2508908"/>
              <a:ext cx="468008" cy="468000"/>
            </a:xfrm>
            <a:custGeom>
              <a:avLst/>
              <a:gdLst>
                <a:gd name="connsiteX0" fmla="*/ 141734 w 228603"/>
                <a:gd name="connsiteY0" fmla="*/ 0 h 228600"/>
                <a:gd name="connsiteX1" fmla="*/ 151259 w 228603"/>
                <a:gd name="connsiteY1" fmla="*/ 9525 h 228600"/>
                <a:gd name="connsiteX2" fmla="*/ 151259 w 228603"/>
                <a:gd name="connsiteY2" fmla="*/ 9525 h 228600"/>
                <a:gd name="connsiteX3" fmla="*/ 151259 w 228603"/>
                <a:gd name="connsiteY3" fmla="*/ 21146 h 228600"/>
                <a:gd name="connsiteX4" fmla="*/ 159818 w 228603"/>
                <a:gd name="connsiteY4" fmla="*/ 34889 h 228600"/>
                <a:gd name="connsiteX5" fmla="*/ 159818 w 228603"/>
                <a:gd name="connsiteY5" fmla="*/ 34889 h 228600"/>
                <a:gd name="connsiteX6" fmla="*/ 161965 w 228603"/>
                <a:gd name="connsiteY6" fmla="*/ 36046 h 228600"/>
                <a:gd name="connsiteX7" fmla="*/ 176701 w 228603"/>
                <a:gd name="connsiteY7" fmla="*/ 35855 h 228600"/>
                <a:gd name="connsiteX8" fmla="*/ 176701 w 228603"/>
                <a:gd name="connsiteY8" fmla="*/ 35855 h 228600"/>
                <a:gd name="connsiteX9" fmla="*/ 186892 w 228603"/>
                <a:gd name="connsiteY9" fmla="*/ 29988 h 228600"/>
                <a:gd name="connsiteX10" fmla="*/ 199886 w 228603"/>
                <a:gd name="connsiteY10" fmla="*/ 33467 h 228600"/>
                <a:gd name="connsiteX11" fmla="*/ 199886 w 228603"/>
                <a:gd name="connsiteY11" fmla="*/ 33467 h 228600"/>
                <a:gd name="connsiteX12" fmla="*/ 227318 w 228603"/>
                <a:gd name="connsiteY12" fmla="*/ 80806 h 228600"/>
                <a:gd name="connsiteX13" fmla="*/ 223826 w 228603"/>
                <a:gd name="connsiteY13" fmla="*/ 93839 h 228600"/>
                <a:gd name="connsiteX14" fmla="*/ 223826 w 228603"/>
                <a:gd name="connsiteY14" fmla="*/ 93839 h 228600"/>
                <a:gd name="connsiteX15" fmla="*/ 213758 w 228603"/>
                <a:gd name="connsiteY15" fmla="*/ 99630 h 228600"/>
                <a:gd name="connsiteX16" fmla="*/ 206113 w 228603"/>
                <a:gd name="connsiteY16" fmla="*/ 114148 h 228600"/>
                <a:gd name="connsiteX17" fmla="*/ 206113 w 228603"/>
                <a:gd name="connsiteY17" fmla="*/ 114148 h 228600"/>
                <a:gd name="connsiteX18" fmla="*/ 206169 w 228603"/>
                <a:gd name="connsiteY18" fmla="*/ 116036 h 228600"/>
                <a:gd name="connsiteX19" fmla="*/ 213758 w 228603"/>
                <a:gd name="connsiteY19" fmla="*/ 128970 h 228600"/>
                <a:gd name="connsiteX20" fmla="*/ 213758 w 228603"/>
                <a:gd name="connsiteY20" fmla="*/ 128970 h 228600"/>
                <a:gd name="connsiteX21" fmla="*/ 223826 w 228603"/>
                <a:gd name="connsiteY21" fmla="*/ 134761 h 228600"/>
                <a:gd name="connsiteX22" fmla="*/ 227318 w 228603"/>
                <a:gd name="connsiteY22" fmla="*/ 147794 h 228600"/>
                <a:gd name="connsiteX23" fmla="*/ 227318 w 228603"/>
                <a:gd name="connsiteY23" fmla="*/ 147794 h 228600"/>
                <a:gd name="connsiteX24" fmla="*/ 199886 w 228603"/>
                <a:gd name="connsiteY24" fmla="*/ 195133 h 228600"/>
                <a:gd name="connsiteX25" fmla="*/ 186892 w 228603"/>
                <a:gd name="connsiteY25" fmla="*/ 198612 h 228600"/>
                <a:gd name="connsiteX26" fmla="*/ 186892 w 228603"/>
                <a:gd name="connsiteY26" fmla="*/ 198612 h 228600"/>
                <a:gd name="connsiteX27" fmla="*/ 176710 w 228603"/>
                <a:gd name="connsiteY27" fmla="*/ 192750 h 228600"/>
                <a:gd name="connsiteX28" fmla="*/ 160333 w 228603"/>
                <a:gd name="connsiteY28" fmla="*/ 193416 h 228600"/>
                <a:gd name="connsiteX29" fmla="*/ 160333 w 228603"/>
                <a:gd name="connsiteY29" fmla="*/ 193416 h 228600"/>
                <a:gd name="connsiteX30" fmla="*/ 158598 w 228603"/>
                <a:gd name="connsiteY30" fmla="*/ 194476 h 228600"/>
                <a:gd name="connsiteX31" fmla="*/ 151259 w 228603"/>
                <a:gd name="connsiteY31" fmla="*/ 207455 h 228600"/>
                <a:gd name="connsiteX32" fmla="*/ 151259 w 228603"/>
                <a:gd name="connsiteY32" fmla="*/ 207455 h 228600"/>
                <a:gd name="connsiteX33" fmla="*/ 151259 w 228603"/>
                <a:gd name="connsiteY33" fmla="*/ 219075 h 228600"/>
                <a:gd name="connsiteX34" fmla="*/ 141734 w 228603"/>
                <a:gd name="connsiteY34" fmla="*/ 228600 h 228600"/>
                <a:gd name="connsiteX35" fmla="*/ 141734 w 228603"/>
                <a:gd name="connsiteY35" fmla="*/ 228600 h 228600"/>
                <a:gd name="connsiteX36" fmla="*/ 86870 w 228603"/>
                <a:gd name="connsiteY36" fmla="*/ 228600 h 228600"/>
                <a:gd name="connsiteX37" fmla="*/ 77345 w 228603"/>
                <a:gd name="connsiteY37" fmla="*/ 219075 h 228600"/>
                <a:gd name="connsiteX38" fmla="*/ 77345 w 228603"/>
                <a:gd name="connsiteY38" fmla="*/ 219075 h 228600"/>
                <a:gd name="connsiteX39" fmla="*/ 77345 w 228603"/>
                <a:gd name="connsiteY39" fmla="*/ 207455 h 228600"/>
                <a:gd name="connsiteX40" fmla="*/ 68785 w 228603"/>
                <a:gd name="connsiteY40" fmla="*/ 193711 h 228600"/>
                <a:gd name="connsiteX41" fmla="*/ 68785 w 228603"/>
                <a:gd name="connsiteY41" fmla="*/ 193711 h 228600"/>
                <a:gd name="connsiteX42" fmla="*/ 66638 w 228603"/>
                <a:gd name="connsiteY42" fmla="*/ 192554 h 228600"/>
                <a:gd name="connsiteX43" fmla="*/ 51903 w 228603"/>
                <a:gd name="connsiteY43" fmla="*/ 192745 h 228600"/>
                <a:gd name="connsiteX44" fmla="*/ 51903 w 228603"/>
                <a:gd name="connsiteY44" fmla="*/ 192745 h 228600"/>
                <a:gd name="connsiteX45" fmla="*/ 41711 w 228603"/>
                <a:gd name="connsiteY45" fmla="*/ 198612 h 228600"/>
                <a:gd name="connsiteX46" fmla="*/ 28717 w 228603"/>
                <a:gd name="connsiteY46" fmla="*/ 195133 h 228600"/>
                <a:gd name="connsiteX47" fmla="*/ 28717 w 228603"/>
                <a:gd name="connsiteY47" fmla="*/ 195133 h 228600"/>
                <a:gd name="connsiteX48" fmla="*/ 1285 w 228603"/>
                <a:gd name="connsiteY48" fmla="*/ 147794 h 228600"/>
                <a:gd name="connsiteX49" fmla="*/ 4777 w 228603"/>
                <a:gd name="connsiteY49" fmla="*/ 134761 h 228600"/>
                <a:gd name="connsiteX50" fmla="*/ 4777 w 228603"/>
                <a:gd name="connsiteY50" fmla="*/ 134761 h 228600"/>
                <a:gd name="connsiteX51" fmla="*/ 14845 w 228603"/>
                <a:gd name="connsiteY51" fmla="*/ 128970 h 228600"/>
                <a:gd name="connsiteX52" fmla="*/ 22490 w 228603"/>
                <a:gd name="connsiteY52" fmla="*/ 114452 h 228600"/>
                <a:gd name="connsiteX53" fmla="*/ 22490 w 228603"/>
                <a:gd name="connsiteY53" fmla="*/ 114452 h 228600"/>
                <a:gd name="connsiteX54" fmla="*/ 22434 w 228603"/>
                <a:gd name="connsiteY54" fmla="*/ 112564 h 228600"/>
                <a:gd name="connsiteX55" fmla="*/ 14845 w 228603"/>
                <a:gd name="connsiteY55" fmla="*/ 99630 h 228600"/>
                <a:gd name="connsiteX56" fmla="*/ 14845 w 228603"/>
                <a:gd name="connsiteY56" fmla="*/ 99630 h 228600"/>
                <a:gd name="connsiteX57" fmla="*/ 4777 w 228603"/>
                <a:gd name="connsiteY57" fmla="*/ 93839 h 228600"/>
                <a:gd name="connsiteX58" fmla="*/ 1285 w 228603"/>
                <a:gd name="connsiteY58" fmla="*/ 80806 h 228600"/>
                <a:gd name="connsiteX59" fmla="*/ 1285 w 228603"/>
                <a:gd name="connsiteY59" fmla="*/ 80806 h 228600"/>
                <a:gd name="connsiteX60" fmla="*/ 28717 w 228603"/>
                <a:gd name="connsiteY60" fmla="*/ 33467 h 228600"/>
                <a:gd name="connsiteX61" fmla="*/ 41711 w 228603"/>
                <a:gd name="connsiteY61" fmla="*/ 29988 h 228600"/>
                <a:gd name="connsiteX62" fmla="*/ 41711 w 228603"/>
                <a:gd name="connsiteY62" fmla="*/ 29988 h 228600"/>
                <a:gd name="connsiteX63" fmla="*/ 51897 w 228603"/>
                <a:gd name="connsiteY63" fmla="*/ 35852 h 228600"/>
                <a:gd name="connsiteX64" fmla="*/ 68271 w 228603"/>
                <a:gd name="connsiteY64" fmla="*/ 35184 h 228600"/>
                <a:gd name="connsiteX65" fmla="*/ 68271 w 228603"/>
                <a:gd name="connsiteY65" fmla="*/ 35184 h 228600"/>
                <a:gd name="connsiteX66" fmla="*/ 68697 w 228603"/>
                <a:gd name="connsiteY66" fmla="*/ 34938 h 228600"/>
                <a:gd name="connsiteX67" fmla="*/ 77345 w 228603"/>
                <a:gd name="connsiteY67" fmla="*/ 21146 h 228600"/>
                <a:gd name="connsiteX68" fmla="*/ 77345 w 228603"/>
                <a:gd name="connsiteY68" fmla="*/ 21146 h 228600"/>
                <a:gd name="connsiteX69" fmla="*/ 77345 w 228603"/>
                <a:gd name="connsiteY69" fmla="*/ 9525 h 228600"/>
                <a:gd name="connsiteX70" fmla="*/ 86870 w 228603"/>
                <a:gd name="connsiteY70" fmla="*/ 0 h 228600"/>
                <a:gd name="connsiteX71" fmla="*/ 86870 w 228603"/>
                <a:gd name="connsiteY71" fmla="*/ 0 h 228600"/>
                <a:gd name="connsiteX72" fmla="*/ 132207 w 228603"/>
                <a:gd name="connsiteY72" fmla="*/ 19050 h 228600"/>
                <a:gd name="connsiteX73" fmla="*/ 96393 w 228603"/>
                <a:gd name="connsiteY73" fmla="*/ 19050 h 228600"/>
                <a:gd name="connsiteX74" fmla="*/ 96395 w 228603"/>
                <a:gd name="connsiteY74" fmla="*/ 21146 h 228600"/>
                <a:gd name="connsiteX75" fmla="*/ 79876 w 228603"/>
                <a:gd name="connsiteY75" fmla="*/ 50426 h 228600"/>
                <a:gd name="connsiteX76" fmla="*/ 79876 w 228603"/>
                <a:gd name="connsiteY76" fmla="*/ 50426 h 228600"/>
                <a:gd name="connsiteX77" fmla="*/ 78037 w 228603"/>
                <a:gd name="connsiteY77" fmla="*/ 51541 h 228600"/>
                <a:gd name="connsiteX78" fmla="*/ 75690 w 228603"/>
                <a:gd name="connsiteY78" fmla="*/ 52824 h 228600"/>
                <a:gd name="connsiteX79" fmla="*/ 42398 w 228603"/>
                <a:gd name="connsiteY79" fmla="*/ 52365 h 228600"/>
                <a:gd name="connsiteX80" fmla="*/ 42398 w 228603"/>
                <a:gd name="connsiteY80" fmla="*/ 52365 h 228600"/>
                <a:gd name="connsiteX81" fmla="*/ 40433 w 228603"/>
                <a:gd name="connsiteY81" fmla="*/ 51235 h 228600"/>
                <a:gd name="connsiteX82" fmla="*/ 22555 w 228603"/>
                <a:gd name="connsiteY82" fmla="*/ 82086 h 228600"/>
                <a:gd name="connsiteX83" fmla="*/ 24344 w 228603"/>
                <a:gd name="connsiteY83" fmla="*/ 83117 h 228600"/>
                <a:gd name="connsiteX84" fmla="*/ 41486 w 228603"/>
                <a:gd name="connsiteY84" fmla="*/ 112006 h 228600"/>
                <a:gd name="connsiteX85" fmla="*/ 41486 w 228603"/>
                <a:gd name="connsiteY85" fmla="*/ 112006 h 228600"/>
                <a:gd name="connsiteX86" fmla="*/ 41540 w 228603"/>
                <a:gd name="connsiteY86" fmla="*/ 114148 h 228600"/>
                <a:gd name="connsiteX87" fmla="*/ 41486 w 228603"/>
                <a:gd name="connsiteY87" fmla="*/ 116577 h 228600"/>
                <a:gd name="connsiteX88" fmla="*/ 24344 w 228603"/>
                <a:gd name="connsiteY88" fmla="*/ 145483 h 228600"/>
                <a:gd name="connsiteX89" fmla="*/ 24344 w 228603"/>
                <a:gd name="connsiteY89" fmla="*/ 145483 h 228600"/>
                <a:gd name="connsiteX90" fmla="*/ 22555 w 228603"/>
                <a:gd name="connsiteY90" fmla="*/ 146504 h 228600"/>
                <a:gd name="connsiteX91" fmla="*/ 40433 w 228603"/>
                <a:gd name="connsiteY91" fmla="*/ 177356 h 228600"/>
                <a:gd name="connsiteX92" fmla="*/ 42404 w 228603"/>
                <a:gd name="connsiteY92" fmla="*/ 176232 h 228600"/>
                <a:gd name="connsiteX93" fmla="*/ 75568 w 228603"/>
                <a:gd name="connsiteY93" fmla="*/ 175706 h 228600"/>
                <a:gd name="connsiteX94" fmla="*/ 75568 w 228603"/>
                <a:gd name="connsiteY94" fmla="*/ 175706 h 228600"/>
                <a:gd name="connsiteX95" fmla="*/ 77522 w 228603"/>
                <a:gd name="connsiteY95" fmla="*/ 176763 h 228600"/>
                <a:gd name="connsiteX96" fmla="*/ 79951 w 228603"/>
                <a:gd name="connsiteY96" fmla="*/ 178216 h 228600"/>
                <a:gd name="connsiteX97" fmla="*/ 96395 w 228603"/>
                <a:gd name="connsiteY97" fmla="*/ 207455 h 228600"/>
                <a:gd name="connsiteX98" fmla="*/ 96395 w 228603"/>
                <a:gd name="connsiteY98" fmla="*/ 207455 h 228600"/>
                <a:gd name="connsiteX99" fmla="*/ 96393 w 228603"/>
                <a:gd name="connsiteY99" fmla="*/ 209550 h 228600"/>
                <a:gd name="connsiteX100" fmla="*/ 132207 w 228603"/>
                <a:gd name="connsiteY100" fmla="*/ 209550 h 228600"/>
                <a:gd name="connsiteX101" fmla="*/ 132209 w 228603"/>
                <a:gd name="connsiteY101" fmla="*/ 207455 h 228600"/>
                <a:gd name="connsiteX102" fmla="*/ 148727 w 228603"/>
                <a:gd name="connsiteY102" fmla="*/ 178174 h 228600"/>
                <a:gd name="connsiteX103" fmla="*/ 148727 w 228603"/>
                <a:gd name="connsiteY103" fmla="*/ 178174 h 228600"/>
                <a:gd name="connsiteX104" fmla="*/ 150567 w 228603"/>
                <a:gd name="connsiteY104" fmla="*/ 177059 h 228600"/>
                <a:gd name="connsiteX105" fmla="*/ 152913 w 228603"/>
                <a:gd name="connsiteY105" fmla="*/ 175776 h 228600"/>
                <a:gd name="connsiteX106" fmla="*/ 186205 w 228603"/>
                <a:gd name="connsiteY106" fmla="*/ 176235 h 228600"/>
                <a:gd name="connsiteX107" fmla="*/ 186205 w 228603"/>
                <a:gd name="connsiteY107" fmla="*/ 176235 h 228600"/>
                <a:gd name="connsiteX108" fmla="*/ 188157 w 228603"/>
                <a:gd name="connsiteY108" fmla="*/ 177356 h 228600"/>
                <a:gd name="connsiteX109" fmla="*/ 206035 w 228603"/>
                <a:gd name="connsiteY109" fmla="*/ 146504 h 228600"/>
                <a:gd name="connsiteX110" fmla="*/ 204259 w 228603"/>
                <a:gd name="connsiteY110" fmla="*/ 145483 h 228600"/>
                <a:gd name="connsiteX111" fmla="*/ 187117 w 228603"/>
                <a:gd name="connsiteY111" fmla="*/ 116594 h 228600"/>
                <a:gd name="connsiteX112" fmla="*/ 187117 w 228603"/>
                <a:gd name="connsiteY112" fmla="*/ 116594 h 228600"/>
                <a:gd name="connsiteX113" fmla="*/ 187063 w 228603"/>
                <a:gd name="connsiteY113" fmla="*/ 114452 h 228600"/>
                <a:gd name="connsiteX114" fmla="*/ 187117 w 228603"/>
                <a:gd name="connsiteY114" fmla="*/ 112023 h 228600"/>
                <a:gd name="connsiteX115" fmla="*/ 204259 w 228603"/>
                <a:gd name="connsiteY115" fmla="*/ 83117 h 228600"/>
                <a:gd name="connsiteX116" fmla="*/ 204259 w 228603"/>
                <a:gd name="connsiteY116" fmla="*/ 83117 h 228600"/>
                <a:gd name="connsiteX117" fmla="*/ 206035 w 228603"/>
                <a:gd name="connsiteY117" fmla="*/ 82086 h 228600"/>
                <a:gd name="connsiteX118" fmla="*/ 188157 w 228603"/>
                <a:gd name="connsiteY118" fmla="*/ 51235 h 228600"/>
                <a:gd name="connsiteX119" fmla="*/ 186195 w 228603"/>
                <a:gd name="connsiteY119" fmla="*/ 52371 h 228600"/>
                <a:gd name="connsiteX120" fmla="*/ 153035 w 228603"/>
                <a:gd name="connsiteY120" fmla="*/ 52894 h 228600"/>
                <a:gd name="connsiteX121" fmla="*/ 153035 w 228603"/>
                <a:gd name="connsiteY121" fmla="*/ 52894 h 228600"/>
                <a:gd name="connsiteX122" fmla="*/ 151081 w 228603"/>
                <a:gd name="connsiteY122" fmla="*/ 51837 h 228600"/>
                <a:gd name="connsiteX123" fmla="*/ 148653 w 228603"/>
                <a:gd name="connsiteY123" fmla="*/ 50384 h 228600"/>
                <a:gd name="connsiteX124" fmla="*/ 132209 w 228603"/>
                <a:gd name="connsiteY124" fmla="*/ 21146 h 228600"/>
                <a:gd name="connsiteX125" fmla="*/ 132209 w 228603"/>
                <a:gd name="connsiteY125" fmla="*/ 21146 h 228600"/>
                <a:gd name="connsiteX126" fmla="*/ 132207 w 228603"/>
                <a:gd name="connsiteY126" fmla="*/ 19050 h 228600"/>
                <a:gd name="connsiteX127" fmla="*/ 114300 w 228603"/>
                <a:gd name="connsiteY127" fmla="*/ 66675 h 228600"/>
                <a:gd name="connsiteX128" fmla="*/ 161925 w 228603"/>
                <a:gd name="connsiteY128" fmla="*/ 114300 h 228600"/>
                <a:gd name="connsiteX129" fmla="*/ 114300 w 228603"/>
                <a:gd name="connsiteY129" fmla="*/ 161925 h 228600"/>
                <a:gd name="connsiteX130" fmla="*/ 66675 w 228603"/>
                <a:gd name="connsiteY130" fmla="*/ 114300 h 228600"/>
                <a:gd name="connsiteX131" fmla="*/ 114300 w 228603"/>
                <a:gd name="connsiteY131" fmla="*/ 66675 h 228600"/>
                <a:gd name="connsiteX132" fmla="*/ 114300 w 228603"/>
                <a:gd name="connsiteY132" fmla="*/ 85725 h 228600"/>
                <a:gd name="connsiteX133" fmla="*/ 85725 w 228603"/>
                <a:gd name="connsiteY133" fmla="*/ 114300 h 228600"/>
                <a:gd name="connsiteX134" fmla="*/ 114300 w 228603"/>
                <a:gd name="connsiteY134" fmla="*/ 142875 h 228600"/>
                <a:gd name="connsiteX135" fmla="*/ 142875 w 228603"/>
                <a:gd name="connsiteY135" fmla="*/ 114300 h 228600"/>
                <a:gd name="connsiteX136" fmla="*/ 114300 w 228603"/>
                <a:gd name="connsiteY136" fmla="*/ 85725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</a:cxnLst>
              <a:rect l="l" t="t" r="r" b="b"/>
              <a:pathLst>
                <a:path w="228603" h="228600">
                  <a:moveTo>
                    <a:pt x="141734" y="0"/>
                  </a:moveTo>
                  <a:cubicBezTo>
                    <a:pt x="146994" y="0"/>
                    <a:pt x="151259" y="4264"/>
                    <a:pt x="151259" y="9525"/>
                  </a:cubicBezTo>
                  <a:lnTo>
                    <a:pt x="151259" y="9525"/>
                  </a:lnTo>
                  <a:lnTo>
                    <a:pt x="151259" y="21146"/>
                  </a:lnTo>
                  <a:cubicBezTo>
                    <a:pt x="151259" y="26669"/>
                    <a:pt x="154487" y="31852"/>
                    <a:pt x="159818" y="34889"/>
                  </a:cubicBezTo>
                  <a:lnTo>
                    <a:pt x="159818" y="34889"/>
                  </a:lnTo>
                  <a:lnTo>
                    <a:pt x="161965" y="36046"/>
                  </a:lnTo>
                  <a:cubicBezTo>
                    <a:pt x="166963" y="38401"/>
                    <a:pt x="172371" y="38341"/>
                    <a:pt x="176701" y="35855"/>
                  </a:cubicBezTo>
                  <a:lnTo>
                    <a:pt x="176701" y="35855"/>
                  </a:lnTo>
                  <a:lnTo>
                    <a:pt x="186892" y="29988"/>
                  </a:lnTo>
                  <a:cubicBezTo>
                    <a:pt x="191442" y="27369"/>
                    <a:pt x="197254" y="28925"/>
                    <a:pt x="199886" y="33467"/>
                  </a:cubicBezTo>
                  <a:lnTo>
                    <a:pt x="199886" y="33467"/>
                  </a:lnTo>
                  <a:lnTo>
                    <a:pt x="227318" y="80806"/>
                  </a:lnTo>
                  <a:cubicBezTo>
                    <a:pt x="229961" y="85368"/>
                    <a:pt x="228396" y="91210"/>
                    <a:pt x="223826" y="93839"/>
                  </a:cubicBezTo>
                  <a:lnTo>
                    <a:pt x="223826" y="93839"/>
                  </a:lnTo>
                  <a:lnTo>
                    <a:pt x="213758" y="99630"/>
                  </a:lnTo>
                  <a:cubicBezTo>
                    <a:pt x="208971" y="102384"/>
                    <a:pt x="206100" y="107788"/>
                    <a:pt x="206113" y="114148"/>
                  </a:cubicBezTo>
                  <a:lnTo>
                    <a:pt x="206113" y="114148"/>
                  </a:lnTo>
                  <a:lnTo>
                    <a:pt x="206169" y="116036"/>
                  </a:lnTo>
                  <a:cubicBezTo>
                    <a:pt x="206592" y="121694"/>
                    <a:pt x="209370" y="126446"/>
                    <a:pt x="213758" y="128970"/>
                  </a:cubicBezTo>
                  <a:lnTo>
                    <a:pt x="213758" y="128970"/>
                  </a:lnTo>
                  <a:lnTo>
                    <a:pt x="223826" y="134761"/>
                  </a:lnTo>
                  <a:cubicBezTo>
                    <a:pt x="228396" y="137390"/>
                    <a:pt x="229961" y="143232"/>
                    <a:pt x="227318" y="147794"/>
                  </a:cubicBezTo>
                  <a:lnTo>
                    <a:pt x="227318" y="147794"/>
                  </a:lnTo>
                  <a:lnTo>
                    <a:pt x="199886" y="195133"/>
                  </a:lnTo>
                  <a:cubicBezTo>
                    <a:pt x="197254" y="199675"/>
                    <a:pt x="191442" y="201231"/>
                    <a:pt x="186892" y="198612"/>
                  </a:cubicBezTo>
                  <a:lnTo>
                    <a:pt x="186892" y="198612"/>
                  </a:lnTo>
                  <a:lnTo>
                    <a:pt x="176710" y="192750"/>
                  </a:lnTo>
                  <a:cubicBezTo>
                    <a:pt x="171938" y="190010"/>
                    <a:pt x="165871" y="190211"/>
                    <a:pt x="160333" y="193416"/>
                  </a:cubicBezTo>
                  <a:lnTo>
                    <a:pt x="160333" y="193416"/>
                  </a:lnTo>
                  <a:lnTo>
                    <a:pt x="158598" y="194476"/>
                  </a:lnTo>
                  <a:cubicBezTo>
                    <a:pt x="153972" y="197614"/>
                    <a:pt x="151259" y="202391"/>
                    <a:pt x="151259" y="207455"/>
                  </a:cubicBezTo>
                  <a:lnTo>
                    <a:pt x="151259" y="207455"/>
                  </a:lnTo>
                  <a:lnTo>
                    <a:pt x="151259" y="219075"/>
                  </a:lnTo>
                  <a:cubicBezTo>
                    <a:pt x="151259" y="224336"/>
                    <a:pt x="146994" y="228600"/>
                    <a:pt x="141734" y="228600"/>
                  </a:cubicBezTo>
                  <a:lnTo>
                    <a:pt x="141734" y="228600"/>
                  </a:lnTo>
                  <a:lnTo>
                    <a:pt x="86870" y="228600"/>
                  </a:lnTo>
                  <a:cubicBezTo>
                    <a:pt x="81609" y="228600"/>
                    <a:pt x="77345" y="224336"/>
                    <a:pt x="77345" y="219075"/>
                  </a:cubicBezTo>
                  <a:lnTo>
                    <a:pt x="77345" y="219075"/>
                  </a:lnTo>
                  <a:lnTo>
                    <a:pt x="77345" y="207455"/>
                  </a:lnTo>
                  <a:cubicBezTo>
                    <a:pt x="77345" y="201931"/>
                    <a:pt x="74116" y="196748"/>
                    <a:pt x="68785" y="193711"/>
                  </a:cubicBezTo>
                  <a:lnTo>
                    <a:pt x="68785" y="193711"/>
                  </a:lnTo>
                  <a:lnTo>
                    <a:pt x="66638" y="192554"/>
                  </a:lnTo>
                  <a:cubicBezTo>
                    <a:pt x="61640" y="190199"/>
                    <a:pt x="56226" y="190259"/>
                    <a:pt x="51903" y="192745"/>
                  </a:cubicBezTo>
                  <a:lnTo>
                    <a:pt x="51903" y="192745"/>
                  </a:lnTo>
                  <a:lnTo>
                    <a:pt x="41711" y="198612"/>
                  </a:lnTo>
                  <a:cubicBezTo>
                    <a:pt x="37161" y="201231"/>
                    <a:pt x="31350" y="199675"/>
                    <a:pt x="28717" y="195133"/>
                  </a:cubicBezTo>
                  <a:lnTo>
                    <a:pt x="28717" y="195133"/>
                  </a:lnTo>
                  <a:lnTo>
                    <a:pt x="1285" y="147794"/>
                  </a:lnTo>
                  <a:cubicBezTo>
                    <a:pt x="-1358" y="143232"/>
                    <a:pt x="207" y="137390"/>
                    <a:pt x="4777" y="134761"/>
                  </a:cubicBezTo>
                  <a:lnTo>
                    <a:pt x="4777" y="134761"/>
                  </a:lnTo>
                  <a:lnTo>
                    <a:pt x="14845" y="128970"/>
                  </a:lnTo>
                  <a:cubicBezTo>
                    <a:pt x="19632" y="126216"/>
                    <a:pt x="22503" y="120812"/>
                    <a:pt x="22490" y="114452"/>
                  </a:cubicBezTo>
                  <a:lnTo>
                    <a:pt x="22490" y="114452"/>
                  </a:lnTo>
                  <a:lnTo>
                    <a:pt x="22434" y="112564"/>
                  </a:lnTo>
                  <a:cubicBezTo>
                    <a:pt x="22011" y="106906"/>
                    <a:pt x="19233" y="102154"/>
                    <a:pt x="14845" y="99630"/>
                  </a:cubicBezTo>
                  <a:lnTo>
                    <a:pt x="14845" y="99630"/>
                  </a:lnTo>
                  <a:lnTo>
                    <a:pt x="4777" y="93839"/>
                  </a:lnTo>
                  <a:cubicBezTo>
                    <a:pt x="207" y="91210"/>
                    <a:pt x="-1358" y="85368"/>
                    <a:pt x="1285" y="80806"/>
                  </a:cubicBezTo>
                  <a:lnTo>
                    <a:pt x="1285" y="80806"/>
                  </a:lnTo>
                  <a:lnTo>
                    <a:pt x="28717" y="33467"/>
                  </a:lnTo>
                  <a:cubicBezTo>
                    <a:pt x="31350" y="28925"/>
                    <a:pt x="37161" y="27369"/>
                    <a:pt x="41711" y="29988"/>
                  </a:cubicBezTo>
                  <a:lnTo>
                    <a:pt x="41711" y="29988"/>
                  </a:lnTo>
                  <a:lnTo>
                    <a:pt x="51897" y="35852"/>
                  </a:lnTo>
                  <a:cubicBezTo>
                    <a:pt x="56659" y="38589"/>
                    <a:pt x="62733" y="38389"/>
                    <a:pt x="68271" y="35184"/>
                  </a:cubicBezTo>
                  <a:lnTo>
                    <a:pt x="68271" y="35184"/>
                  </a:lnTo>
                  <a:lnTo>
                    <a:pt x="68697" y="34938"/>
                  </a:lnTo>
                  <a:cubicBezTo>
                    <a:pt x="74116" y="31852"/>
                    <a:pt x="77345" y="26669"/>
                    <a:pt x="77345" y="21146"/>
                  </a:cubicBezTo>
                  <a:lnTo>
                    <a:pt x="77345" y="21146"/>
                  </a:lnTo>
                  <a:lnTo>
                    <a:pt x="77345" y="9525"/>
                  </a:lnTo>
                  <a:cubicBezTo>
                    <a:pt x="77345" y="4264"/>
                    <a:pt x="81609" y="0"/>
                    <a:pt x="86870" y="0"/>
                  </a:cubicBezTo>
                  <a:lnTo>
                    <a:pt x="86870" y="0"/>
                  </a:lnTo>
                  <a:close/>
                  <a:moveTo>
                    <a:pt x="132207" y="19050"/>
                  </a:moveTo>
                  <a:lnTo>
                    <a:pt x="96393" y="19050"/>
                  </a:lnTo>
                  <a:lnTo>
                    <a:pt x="96395" y="21146"/>
                  </a:lnTo>
                  <a:cubicBezTo>
                    <a:pt x="96395" y="33049"/>
                    <a:pt x="90075" y="43853"/>
                    <a:pt x="79876" y="50426"/>
                  </a:cubicBezTo>
                  <a:lnTo>
                    <a:pt x="79876" y="50426"/>
                  </a:lnTo>
                  <a:lnTo>
                    <a:pt x="78037" y="51541"/>
                  </a:lnTo>
                  <a:lnTo>
                    <a:pt x="75690" y="52824"/>
                  </a:lnTo>
                  <a:cubicBezTo>
                    <a:pt x="65022" y="58203"/>
                    <a:pt x="52631" y="58247"/>
                    <a:pt x="42398" y="52365"/>
                  </a:cubicBezTo>
                  <a:lnTo>
                    <a:pt x="42398" y="52365"/>
                  </a:lnTo>
                  <a:lnTo>
                    <a:pt x="40433" y="51235"/>
                  </a:lnTo>
                  <a:lnTo>
                    <a:pt x="22555" y="82086"/>
                  </a:lnTo>
                  <a:lnTo>
                    <a:pt x="24344" y="83117"/>
                  </a:lnTo>
                  <a:cubicBezTo>
                    <a:pt x="34678" y="89062"/>
                    <a:pt x="40854" y="99938"/>
                    <a:pt x="41486" y="112006"/>
                  </a:cubicBezTo>
                  <a:lnTo>
                    <a:pt x="41486" y="112006"/>
                  </a:lnTo>
                  <a:lnTo>
                    <a:pt x="41540" y="114148"/>
                  </a:lnTo>
                  <a:lnTo>
                    <a:pt x="41486" y="116577"/>
                  </a:lnTo>
                  <a:cubicBezTo>
                    <a:pt x="40854" y="128662"/>
                    <a:pt x="34678" y="139538"/>
                    <a:pt x="24344" y="145483"/>
                  </a:cubicBezTo>
                  <a:lnTo>
                    <a:pt x="24344" y="145483"/>
                  </a:lnTo>
                  <a:lnTo>
                    <a:pt x="22555" y="146504"/>
                  </a:lnTo>
                  <a:lnTo>
                    <a:pt x="40433" y="177356"/>
                  </a:lnTo>
                  <a:lnTo>
                    <a:pt x="42404" y="176232"/>
                  </a:lnTo>
                  <a:cubicBezTo>
                    <a:pt x="52631" y="170353"/>
                    <a:pt x="65022" y="170397"/>
                    <a:pt x="75568" y="175706"/>
                  </a:cubicBezTo>
                  <a:lnTo>
                    <a:pt x="75568" y="175706"/>
                  </a:lnTo>
                  <a:lnTo>
                    <a:pt x="77522" y="176763"/>
                  </a:lnTo>
                  <a:lnTo>
                    <a:pt x="79951" y="178216"/>
                  </a:lnTo>
                  <a:cubicBezTo>
                    <a:pt x="90075" y="184747"/>
                    <a:pt x="96395" y="195551"/>
                    <a:pt x="96395" y="207455"/>
                  </a:cubicBezTo>
                  <a:lnTo>
                    <a:pt x="96395" y="207455"/>
                  </a:lnTo>
                  <a:lnTo>
                    <a:pt x="96393" y="209550"/>
                  </a:lnTo>
                  <a:lnTo>
                    <a:pt x="132207" y="209550"/>
                  </a:lnTo>
                  <a:lnTo>
                    <a:pt x="132209" y="207455"/>
                  </a:lnTo>
                  <a:cubicBezTo>
                    <a:pt x="132209" y="195551"/>
                    <a:pt x="138528" y="184747"/>
                    <a:pt x="148727" y="178174"/>
                  </a:cubicBezTo>
                  <a:lnTo>
                    <a:pt x="148727" y="178174"/>
                  </a:lnTo>
                  <a:lnTo>
                    <a:pt x="150567" y="177059"/>
                  </a:lnTo>
                  <a:lnTo>
                    <a:pt x="152913" y="175776"/>
                  </a:lnTo>
                  <a:cubicBezTo>
                    <a:pt x="163579" y="170397"/>
                    <a:pt x="175961" y="170354"/>
                    <a:pt x="186205" y="176235"/>
                  </a:cubicBezTo>
                  <a:lnTo>
                    <a:pt x="186205" y="176235"/>
                  </a:lnTo>
                  <a:lnTo>
                    <a:pt x="188157" y="177356"/>
                  </a:lnTo>
                  <a:lnTo>
                    <a:pt x="206035" y="146504"/>
                  </a:lnTo>
                  <a:lnTo>
                    <a:pt x="204259" y="145483"/>
                  </a:lnTo>
                  <a:cubicBezTo>
                    <a:pt x="193925" y="139538"/>
                    <a:pt x="187749" y="128662"/>
                    <a:pt x="187117" y="116594"/>
                  </a:cubicBezTo>
                  <a:lnTo>
                    <a:pt x="187117" y="116594"/>
                  </a:lnTo>
                  <a:lnTo>
                    <a:pt x="187063" y="114452"/>
                  </a:lnTo>
                  <a:lnTo>
                    <a:pt x="187117" y="112023"/>
                  </a:lnTo>
                  <a:cubicBezTo>
                    <a:pt x="187749" y="99938"/>
                    <a:pt x="193925" y="89062"/>
                    <a:pt x="204259" y="83117"/>
                  </a:cubicBezTo>
                  <a:lnTo>
                    <a:pt x="204259" y="83117"/>
                  </a:lnTo>
                  <a:lnTo>
                    <a:pt x="206035" y="82086"/>
                  </a:lnTo>
                  <a:lnTo>
                    <a:pt x="188157" y="51235"/>
                  </a:lnTo>
                  <a:lnTo>
                    <a:pt x="186195" y="52371"/>
                  </a:lnTo>
                  <a:cubicBezTo>
                    <a:pt x="175961" y="58247"/>
                    <a:pt x="163579" y="58203"/>
                    <a:pt x="153035" y="52894"/>
                  </a:cubicBezTo>
                  <a:lnTo>
                    <a:pt x="153035" y="52894"/>
                  </a:lnTo>
                  <a:lnTo>
                    <a:pt x="151081" y="51837"/>
                  </a:lnTo>
                  <a:lnTo>
                    <a:pt x="148653" y="50384"/>
                  </a:lnTo>
                  <a:cubicBezTo>
                    <a:pt x="138528" y="43853"/>
                    <a:pt x="132209" y="33049"/>
                    <a:pt x="132209" y="21146"/>
                  </a:cubicBezTo>
                  <a:lnTo>
                    <a:pt x="132209" y="21146"/>
                  </a:lnTo>
                  <a:lnTo>
                    <a:pt x="132207" y="19050"/>
                  </a:lnTo>
                  <a:close/>
                  <a:moveTo>
                    <a:pt x="114300" y="66675"/>
                  </a:moveTo>
                  <a:cubicBezTo>
                    <a:pt x="140601" y="66675"/>
                    <a:pt x="161925" y="87999"/>
                    <a:pt x="161925" y="114300"/>
                  </a:cubicBezTo>
                  <a:cubicBezTo>
                    <a:pt x="161925" y="140601"/>
                    <a:pt x="140601" y="161925"/>
                    <a:pt x="114300" y="161925"/>
                  </a:cubicBezTo>
                  <a:cubicBezTo>
                    <a:pt x="87998" y="161925"/>
                    <a:pt x="66675" y="140601"/>
                    <a:pt x="66675" y="114300"/>
                  </a:cubicBezTo>
                  <a:cubicBezTo>
                    <a:pt x="66675" y="87999"/>
                    <a:pt x="87998" y="66675"/>
                    <a:pt x="114300" y="66675"/>
                  </a:cubicBezTo>
                  <a:close/>
                  <a:moveTo>
                    <a:pt x="114300" y="85725"/>
                  </a:moveTo>
                  <a:cubicBezTo>
                    <a:pt x="98519" y="85725"/>
                    <a:pt x="85725" y="98520"/>
                    <a:pt x="85725" y="114300"/>
                  </a:cubicBezTo>
                  <a:cubicBezTo>
                    <a:pt x="85725" y="130080"/>
                    <a:pt x="98519" y="142875"/>
                    <a:pt x="114300" y="142875"/>
                  </a:cubicBezTo>
                  <a:cubicBezTo>
                    <a:pt x="130080" y="142875"/>
                    <a:pt x="142875" y="130080"/>
                    <a:pt x="142875" y="114300"/>
                  </a:cubicBezTo>
                  <a:cubicBezTo>
                    <a:pt x="142875" y="98520"/>
                    <a:pt x="130080" y="85725"/>
                    <a:pt x="114300" y="85725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00D756"/>
                </a:gs>
                <a:gs pos="99000">
                  <a:srgbClr val="27C6E5"/>
                </a:gs>
              </a:gsLst>
              <a:lin ang="0" scaled="0"/>
              <a:tileRect/>
            </a:gradFill>
            <a:ln w="19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2800"/>
            </a:p>
          </p:txBody>
        </p:sp>
        <p:sp>
          <p:nvSpPr>
            <p:cNvPr id="53" name="Rounded Rectangle 44">
              <a:extLst>
                <a:ext uri="{FF2B5EF4-FFF2-40B4-BE49-F238E27FC236}">
                  <a16:creationId xmlns:a16="http://schemas.microsoft.com/office/drawing/2014/main" id="{01C14F4D-B62E-C140-8201-B50D60CB5D59}"/>
                </a:ext>
              </a:extLst>
            </p:cNvPr>
            <p:cNvSpPr/>
            <p:nvPr/>
          </p:nvSpPr>
          <p:spPr>
            <a:xfrm>
              <a:off x="439381" y="2382908"/>
              <a:ext cx="6171062" cy="720000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799883" rtlCol="0" anchor="ctr"/>
            <a:lstStyle/>
            <a:p>
              <a:r>
                <a:rPr lang="en-US" sz="2800" dirty="0">
                  <a:solidFill>
                    <a:schemeClr val="tx1"/>
                  </a:solidFill>
                </a:rPr>
                <a:t>— </a:t>
              </a:r>
              <a:r>
                <a:rPr lang="ru-RU" sz="2800" dirty="0">
                  <a:solidFill>
                    <a:schemeClr val="tx1"/>
                  </a:solidFill>
                </a:rPr>
                <a:t>Подсистема администрирования для контроля и сопровождения встреч и быстрой диагностики проблем</a:t>
              </a:r>
            </a:p>
          </p:txBody>
        </p:sp>
      </p:grpSp>
      <p:grpSp>
        <p:nvGrpSpPr>
          <p:cNvPr id="54" name="Group 51">
            <a:extLst>
              <a:ext uri="{FF2B5EF4-FFF2-40B4-BE49-F238E27FC236}">
                <a16:creationId xmlns:a16="http://schemas.microsoft.com/office/drawing/2014/main" id="{39A806BE-EBEC-F74B-964C-06D5D82B7FB6}"/>
              </a:ext>
            </a:extLst>
          </p:cNvPr>
          <p:cNvGrpSpPr/>
          <p:nvPr/>
        </p:nvGrpSpPr>
        <p:grpSpPr>
          <a:xfrm>
            <a:off x="1875904" y="6610712"/>
            <a:ext cx="10133572" cy="1439906"/>
            <a:chOff x="439381" y="3171120"/>
            <a:chExt cx="5067116" cy="720000"/>
          </a:xfrm>
        </p:grpSpPr>
        <p:sp>
          <p:nvSpPr>
            <p:cNvPr id="58" name="Graphic 31">
              <a:extLst>
                <a:ext uri="{FF2B5EF4-FFF2-40B4-BE49-F238E27FC236}">
                  <a16:creationId xmlns:a16="http://schemas.microsoft.com/office/drawing/2014/main" id="{1A3FBFAC-A3EA-A344-ABBD-1A6DC0725B30}"/>
                </a:ext>
              </a:extLst>
            </p:cNvPr>
            <p:cNvSpPr/>
            <p:nvPr/>
          </p:nvSpPr>
          <p:spPr>
            <a:xfrm>
              <a:off x="601917" y="3401120"/>
              <a:ext cx="680000" cy="260000"/>
            </a:xfrm>
            <a:custGeom>
              <a:avLst/>
              <a:gdLst>
                <a:gd name="connsiteX0" fmla="*/ 240000 w 680000"/>
                <a:gd name="connsiteY0" fmla="*/ 0 h 260000"/>
                <a:gd name="connsiteX1" fmla="*/ 309297 w 680000"/>
                <a:gd name="connsiteY1" fmla="*/ 39996 h 260000"/>
                <a:gd name="connsiteX2" fmla="*/ 370703 w 680000"/>
                <a:gd name="connsiteY2" fmla="*/ 39996 h 260000"/>
                <a:gd name="connsiteX3" fmla="*/ 440000 w 680000"/>
                <a:gd name="connsiteY3" fmla="*/ 0 h 260000"/>
                <a:gd name="connsiteX4" fmla="*/ 440000 w 680000"/>
                <a:gd name="connsiteY4" fmla="*/ 0 h 260000"/>
                <a:gd name="connsiteX5" fmla="*/ 560000 w 680000"/>
                <a:gd name="connsiteY5" fmla="*/ 0 h 260000"/>
                <a:gd name="connsiteX6" fmla="*/ 629297 w 680000"/>
                <a:gd name="connsiteY6" fmla="*/ 39996 h 260000"/>
                <a:gd name="connsiteX7" fmla="*/ 660000 w 680000"/>
                <a:gd name="connsiteY7" fmla="*/ 40000 h 260000"/>
                <a:gd name="connsiteX8" fmla="*/ 680000 w 680000"/>
                <a:gd name="connsiteY8" fmla="*/ 60000 h 260000"/>
                <a:gd name="connsiteX9" fmla="*/ 662332 w 680000"/>
                <a:gd name="connsiteY9" fmla="*/ 79865 h 260000"/>
                <a:gd name="connsiteX10" fmla="*/ 660000 w 680000"/>
                <a:gd name="connsiteY10" fmla="*/ 80000 h 260000"/>
                <a:gd name="connsiteX11" fmla="*/ 640000 w 680000"/>
                <a:gd name="connsiteY11" fmla="*/ 80000 h 260000"/>
                <a:gd name="connsiteX12" fmla="*/ 640000 w 680000"/>
                <a:gd name="connsiteY12" fmla="*/ 160000 h 260000"/>
                <a:gd name="connsiteX13" fmla="*/ 540000 w 680000"/>
                <a:gd name="connsiteY13" fmla="*/ 260000 h 260000"/>
                <a:gd name="connsiteX14" fmla="*/ 540000 w 680000"/>
                <a:gd name="connsiteY14" fmla="*/ 260000 h 260000"/>
                <a:gd name="connsiteX15" fmla="*/ 460000 w 680000"/>
                <a:gd name="connsiteY15" fmla="*/ 260000 h 260000"/>
                <a:gd name="connsiteX16" fmla="*/ 360000 w 680000"/>
                <a:gd name="connsiteY16" fmla="*/ 160000 h 260000"/>
                <a:gd name="connsiteX17" fmla="*/ 360000 w 680000"/>
                <a:gd name="connsiteY17" fmla="*/ 160000 h 260000"/>
                <a:gd name="connsiteX18" fmla="*/ 360000 w 680000"/>
                <a:gd name="connsiteY18" fmla="*/ 80000 h 260000"/>
                <a:gd name="connsiteX19" fmla="*/ 360000 w 680000"/>
                <a:gd name="connsiteY19" fmla="*/ 80000 h 260000"/>
                <a:gd name="connsiteX20" fmla="*/ 320000 w 680000"/>
                <a:gd name="connsiteY20" fmla="*/ 80000 h 260000"/>
                <a:gd name="connsiteX21" fmla="*/ 320000 w 680000"/>
                <a:gd name="connsiteY21" fmla="*/ 160000 h 260000"/>
                <a:gd name="connsiteX22" fmla="*/ 220000 w 680000"/>
                <a:gd name="connsiteY22" fmla="*/ 260000 h 260000"/>
                <a:gd name="connsiteX23" fmla="*/ 220000 w 680000"/>
                <a:gd name="connsiteY23" fmla="*/ 260000 h 260000"/>
                <a:gd name="connsiteX24" fmla="*/ 140000 w 680000"/>
                <a:gd name="connsiteY24" fmla="*/ 260000 h 260000"/>
                <a:gd name="connsiteX25" fmla="*/ 40000 w 680000"/>
                <a:gd name="connsiteY25" fmla="*/ 160000 h 260000"/>
                <a:gd name="connsiteX26" fmla="*/ 40000 w 680000"/>
                <a:gd name="connsiteY26" fmla="*/ 160000 h 260000"/>
                <a:gd name="connsiteX27" fmla="*/ 40000 w 680000"/>
                <a:gd name="connsiteY27" fmla="*/ 80000 h 260000"/>
                <a:gd name="connsiteX28" fmla="*/ 40000 w 680000"/>
                <a:gd name="connsiteY28" fmla="*/ 80000 h 260000"/>
                <a:gd name="connsiteX29" fmla="*/ 20000 w 680000"/>
                <a:gd name="connsiteY29" fmla="*/ 80000 h 260000"/>
                <a:gd name="connsiteX30" fmla="*/ 0 w 680000"/>
                <a:gd name="connsiteY30" fmla="*/ 60000 h 260000"/>
                <a:gd name="connsiteX31" fmla="*/ 17668 w 680000"/>
                <a:gd name="connsiteY31" fmla="*/ 40135 h 260000"/>
                <a:gd name="connsiteX32" fmla="*/ 20000 w 680000"/>
                <a:gd name="connsiteY32" fmla="*/ 40000 h 260000"/>
                <a:gd name="connsiteX33" fmla="*/ 50703 w 680000"/>
                <a:gd name="connsiteY33" fmla="*/ 39996 h 260000"/>
                <a:gd name="connsiteX34" fmla="*/ 120000 w 680000"/>
                <a:gd name="connsiteY34" fmla="*/ 0 h 260000"/>
                <a:gd name="connsiteX35" fmla="*/ 120000 w 680000"/>
                <a:gd name="connsiteY35" fmla="*/ 0 h 260000"/>
                <a:gd name="connsiteX36" fmla="*/ 240000 w 680000"/>
                <a:gd name="connsiteY36" fmla="*/ 40000 h 260000"/>
                <a:gd name="connsiteX37" fmla="*/ 120000 w 680000"/>
                <a:gd name="connsiteY37" fmla="*/ 40000 h 260000"/>
                <a:gd name="connsiteX38" fmla="*/ 80000 w 680000"/>
                <a:gd name="connsiteY38" fmla="*/ 80000 h 260000"/>
                <a:gd name="connsiteX39" fmla="*/ 80000 w 680000"/>
                <a:gd name="connsiteY39" fmla="*/ 80000 h 260000"/>
                <a:gd name="connsiteX40" fmla="*/ 80000 w 680000"/>
                <a:gd name="connsiteY40" fmla="*/ 160000 h 260000"/>
                <a:gd name="connsiteX41" fmla="*/ 140000 w 680000"/>
                <a:gd name="connsiteY41" fmla="*/ 220000 h 260000"/>
                <a:gd name="connsiteX42" fmla="*/ 140000 w 680000"/>
                <a:gd name="connsiteY42" fmla="*/ 220000 h 260000"/>
                <a:gd name="connsiteX43" fmla="*/ 220000 w 680000"/>
                <a:gd name="connsiteY43" fmla="*/ 220000 h 260000"/>
                <a:gd name="connsiteX44" fmla="*/ 280000 w 680000"/>
                <a:gd name="connsiteY44" fmla="*/ 160000 h 260000"/>
                <a:gd name="connsiteX45" fmla="*/ 280000 w 680000"/>
                <a:gd name="connsiteY45" fmla="*/ 160000 h 260000"/>
                <a:gd name="connsiteX46" fmla="*/ 280000 w 680000"/>
                <a:gd name="connsiteY46" fmla="*/ 80000 h 260000"/>
                <a:gd name="connsiteX47" fmla="*/ 240000 w 680000"/>
                <a:gd name="connsiteY47" fmla="*/ 40000 h 260000"/>
                <a:gd name="connsiteX48" fmla="*/ 240000 w 680000"/>
                <a:gd name="connsiteY48" fmla="*/ 40000 h 260000"/>
                <a:gd name="connsiteX49" fmla="*/ 560000 w 680000"/>
                <a:gd name="connsiteY49" fmla="*/ 40000 h 260000"/>
                <a:gd name="connsiteX50" fmla="*/ 440000 w 680000"/>
                <a:gd name="connsiteY50" fmla="*/ 40000 h 260000"/>
                <a:gd name="connsiteX51" fmla="*/ 400000 w 680000"/>
                <a:gd name="connsiteY51" fmla="*/ 80000 h 260000"/>
                <a:gd name="connsiteX52" fmla="*/ 400000 w 680000"/>
                <a:gd name="connsiteY52" fmla="*/ 80000 h 260000"/>
                <a:gd name="connsiteX53" fmla="*/ 400000 w 680000"/>
                <a:gd name="connsiteY53" fmla="*/ 160000 h 260000"/>
                <a:gd name="connsiteX54" fmla="*/ 460000 w 680000"/>
                <a:gd name="connsiteY54" fmla="*/ 220000 h 260000"/>
                <a:gd name="connsiteX55" fmla="*/ 460000 w 680000"/>
                <a:gd name="connsiteY55" fmla="*/ 220000 h 260000"/>
                <a:gd name="connsiteX56" fmla="*/ 540000 w 680000"/>
                <a:gd name="connsiteY56" fmla="*/ 220000 h 260000"/>
                <a:gd name="connsiteX57" fmla="*/ 600000 w 680000"/>
                <a:gd name="connsiteY57" fmla="*/ 160000 h 260000"/>
                <a:gd name="connsiteX58" fmla="*/ 600000 w 680000"/>
                <a:gd name="connsiteY58" fmla="*/ 160000 h 260000"/>
                <a:gd name="connsiteX59" fmla="*/ 600000 w 680000"/>
                <a:gd name="connsiteY59" fmla="*/ 80000 h 260000"/>
                <a:gd name="connsiteX60" fmla="*/ 560000 w 680000"/>
                <a:gd name="connsiteY60" fmla="*/ 40000 h 260000"/>
                <a:gd name="connsiteX61" fmla="*/ 560000 w 680000"/>
                <a:gd name="connsiteY61" fmla="*/ 40000 h 260000"/>
                <a:gd name="connsiteX62" fmla="*/ 197320 w 680000"/>
                <a:gd name="connsiteY62" fmla="*/ 59996 h 260000"/>
                <a:gd name="connsiteX63" fmla="*/ 217320 w 680000"/>
                <a:gd name="connsiteY63" fmla="*/ 79996 h 260000"/>
                <a:gd name="connsiteX64" fmla="*/ 199652 w 680000"/>
                <a:gd name="connsiteY64" fmla="*/ 99861 h 260000"/>
                <a:gd name="connsiteX65" fmla="*/ 197320 w 680000"/>
                <a:gd name="connsiteY65" fmla="*/ 99996 h 260000"/>
                <a:gd name="connsiteX66" fmla="*/ 140000 w 680000"/>
                <a:gd name="connsiteY66" fmla="*/ 99980 h 260000"/>
                <a:gd name="connsiteX67" fmla="*/ 140000 w 680000"/>
                <a:gd name="connsiteY67" fmla="*/ 142236 h 260000"/>
                <a:gd name="connsiteX68" fmla="*/ 122332 w 680000"/>
                <a:gd name="connsiteY68" fmla="*/ 162101 h 260000"/>
                <a:gd name="connsiteX69" fmla="*/ 120000 w 680000"/>
                <a:gd name="connsiteY69" fmla="*/ 162236 h 260000"/>
                <a:gd name="connsiteX70" fmla="*/ 100135 w 680000"/>
                <a:gd name="connsiteY70" fmla="*/ 144568 h 260000"/>
                <a:gd name="connsiteX71" fmla="*/ 100000 w 680000"/>
                <a:gd name="connsiteY71" fmla="*/ 142236 h 260000"/>
                <a:gd name="connsiteX72" fmla="*/ 100000 w 680000"/>
                <a:gd name="connsiteY72" fmla="*/ 79996 h 260000"/>
                <a:gd name="connsiteX73" fmla="*/ 117668 w 680000"/>
                <a:gd name="connsiteY73" fmla="*/ 60131 h 260000"/>
                <a:gd name="connsiteX74" fmla="*/ 120000 w 680000"/>
                <a:gd name="connsiteY74" fmla="*/ 59996 h 260000"/>
                <a:gd name="connsiteX75" fmla="*/ 197320 w 680000"/>
                <a:gd name="connsiteY75" fmla="*/ 59996 h 260000"/>
                <a:gd name="connsiteX76" fmla="*/ 517320 w 680000"/>
                <a:gd name="connsiteY76" fmla="*/ 59996 h 260000"/>
                <a:gd name="connsiteX77" fmla="*/ 537320 w 680000"/>
                <a:gd name="connsiteY77" fmla="*/ 79996 h 260000"/>
                <a:gd name="connsiteX78" fmla="*/ 519652 w 680000"/>
                <a:gd name="connsiteY78" fmla="*/ 99861 h 260000"/>
                <a:gd name="connsiteX79" fmla="*/ 517320 w 680000"/>
                <a:gd name="connsiteY79" fmla="*/ 99996 h 260000"/>
                <a:gd name="connsiteX80" fmla="*/ 460000 w 680000"/>
                <a:gd name="connsiteY80" fmla="*/ 99980 h 260000"/>
                <a:gd name="connsiteX81" fmla="*/ 460000 w 680000"/>
                <a:gd name="connsiteY81" fmla="*/ 142236 h 260000"/>
                <a:gd name="connsiteX82" fmla="*/ 442332 w 680000"/>
                <a:gd name="connsiteY82" fmla="*/ 162101 h 260000"/>
                <a:gd name="connsiteX83" fmla="*/ 440000 w 680000"/>
                <a:gd name="connsiteY83" fmla="*/ 162236 h 260000"/>
                <a:gd name="connsiteX84" fmla="*/ 420135 w 680000"/>
                <a:gd name="connsiteY84" fmla="*/ 144568 h 260000"/>
                <a:gd name="connsiteX85" fmla="*/ 420000 w 680000"/>
                <a:gd name="connsiteY85" fmla="*/ 142236 h 260000"/>
                <a:gd name="connsiteX86" fmla="*/ 420000 w 680000"/>
                <a:gd name="connsiteY86" fmla="*/ 79996 h 260000"/>
                <a:gd name="connsiteX87" fmla="*/ 437668 w 680000"/>
                <a:gd name="connsiteY87" fmla="*/ 60131 h 260000"/>
                <a:gd name="connsiteX88" fmla="*/ 440000 w 680000"/>
                <a:gd name="connsiteY88" fmla="*/ 59996 h 260000"/>
                <a:gd name="connsiteX89" fmla="*/ 517320 w 680000"/>
                <a:gd name="connsiteY89" fmla="*/ 59996 h 26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680000" h="260000">
                  <a:moveTo>
                    <a:pt x="240000" y="0"/>
                  </a:moveTo>
                  <a:cubicBezTo>
                    <a:pt x="269612" y="0"/>
                    <a:pt x="295465" y="16086"/>
                    <a:pt x="309297" y="39996"/>
                  </a:cubicBezTo>
                  <a:lnTo>
                    <a:pt x="370703" y="39996"/>
                  </a:lnTo>
                  <a:cubicBezTo>
                    <a:pt x="384535" y="16086"/>
                    <a:pt x="410388" y="0"/>
                    <a:pt x="440000" y="0"/>
                  </a:cubicBezTo>
                  <a:lnTo>
                    <a:pt x="440000" y="0"/>
                  </a:lnTo>
                  <a:lnTo>
                    <a:pt x="560000" y="0"/>
                  </a:lnTo>
                  <a:cubicBezTo>
                    <a:pt x="589612" y="0"/>
                    <a:pt x="615465" y="16086"/>
                    <a:pt x="629297" y="39996"/>
                  </a:cubicBezTo>
                  <a:lnTo>
                    <a:pt x="660000" y="40000"/>
                  </a:lnTo>
                  <a:cubicBezTo>
                    <a:pt x="671046" y="40000"/>
                    <a:pt x="680000" y="48954"/>
                    <a:pt x="680000" y="60000"/>
                  </a:cubicBezTo>
                  <a:cubicBezTo>
                    <a:pt x="680000" y="70257"/>
                    <a:pt x="672279" y="78710"/>
                    <a:pt x="662332" y="79865"/>
                  </a:cubicBezTo>
                  <a:lnTo>
                    <a:pt x="660000" y="80000"/>
                  </a:lnTo>
                  <a:lnTo>
                    <a:pt x="640000" y="80000"/>
                  </a:lnTo>
                  <a:lnTo>
                    <a:pt x="640000" y="160000"/>
                  </a:lnTo>
                  <a:cubicBezTo>
                    <a:pt x="640000" y="215226"/>
                    <a:pt x="595226" y="260000"/>
                    <a:pt x="540000" y="260000"/>
                  </a:cubicBezTo>
                  <a:lnTo>
                    <a:pt x="540000" y="260000"/>
                  </a:lnTo>
                  <a:lnTo>
                    <a:pt x="460000" y="260000"/>
                  </a:lnTo>
                  <a:cubicBezTo>
                    <a:pt x="404774" y="260000"/>
                    <a:pt x="360000" y="215226"/>
                    <a:pt x="360000" y="160000"/>
                  </a:cubicBezTo>
                  <a:lnTo>
                    <a:pt x="360000" y="160000"/>
                  </a:lnTo>
                  <a:lnTo>
                    <a:pt x="360000" y="80000"/>
                  </a:lnTo>
                  <a:lnTo>
                    <a:pt x="360000" y="80000"/>
                  </a:lnTo>
                  <a:lnTo>
                    <a:pt x="320000" y="80000"/>
                  </a:lnTo>
                  <a:lnTo>
                    <a:pt x="320000" y="160000"/>
                  </a:lnTo>
                  <a:cubicBezTo>
                    <a:pt x="320000" y="215226"/>
                    <a:pt x="275226" y="260000"/>
                    <a:pt x="220000" y="260000"/>
                  </a:cubicBezTo>
                  <a:lnTo>
                    <a:pt x="220000" y="260000"/>
                  </a:lnTo>
                  <a:lnTo>
                    <a:pt x="140000" y="260000"/>
                  </a:lnTo>
                  <a:cubicBezTo>
                    <a:pt x="84774" y="260000"/>
                    <a:pt x="40000" y="215226"/>
                    <a:pt x="40000" y="160000"/>
                  </a:cubicBezTo>
                  <a:lnTo>
                    <a:pt x="40000" y="160000"/>
                  </a:lnTo>
                  <a:lnTo>
                    <a:pt x="40000" y="80000"/>
                  </a:lnTo>
                  <a:lnTo>
                    <a:pt x="40000" y="80000"/>
                  </a:lnTo>
                  <a:lnTo>
                    <a:pt x="20000" y="80000"/>
                  </a:lnTo>
                  <a:cubicBezTo>
                    <a:pt x="8954" y="80000"/>
                    <a:pt x="0" y="71046"/>
                    <a:pt x="0" y="60000"/>
                  </a:cubicBezTo>
                  <a:cubicBezTo>
                    <a:pt x="0" y="49743"/>
                    <a:pt x="7721" y="41290"/>
                    <a:pt x="17668" y="40135"/>
                  </a:cubicBezTo>
                  <a:lnTo>
                    <a:pt x="20000" y="40000"/>
                  </a:lnTo>
                  <a:lnTo>
                    <a:pt x="50703" y="39996"/>
                  </a:lnTo>
                  <a:cubicBezTo>
                    <a:pt x="64535" y="16086"/>
                    <a:pt x="90388" y="0"/>
                    <a:pt x="120000" y="0"/>
                  </a:cubicBezTo>
                  <a:lnTo>
                    <a:pt x="120000" y="0"/>
                  </a:lnTo>
                  <a:close/>
                  <a:moveTo>
                    <a:pt x="240000" y="40000"/>
                  </a:moveTo>
                  <a:lnTo>
                    <a:pt x="120000" y="40000"/>
                  </a:lnTo>
                  <a:cubicBezTo>
                    <a:pt x="97906" y="40000"/>
                    <a:pt x="80000" y="57906"/>
                    <a:pt x="80000" y="80000"/>
                  </a:cubicBezTo>
                  <a:lnTo>
                    <a:pt x="80000" y="80000"/>
                  </a:lnTo>
                  <a:lnTo>
                    <a:pt x="80000" y="160000"/>
                  </a:lnTo>
                  <a:cubicBezTo>
                    <a:pt x="80000" y="193134"/>
                    <a:pt x="106866" y="220000"/>
                    <a:pt x="140000" y="220000"/>
                  </a:cubicBezTo>
                  <a:lnTo>
                    <a:pt x="140000" y="220000"/>
                  </a:lnTo>
                  <a:lnTo>
                    <a:pt x="220000" y="220000"/>
                  </a:lnTo>
                  <a:cubicBezTo>
                    <a:pt x="253134" y="220000"/>
                    <a:pt x="280000" y="193134"/>
                    <a:pt x="280000" y="160000"/>
                  </a:cubicBezTo>
                  <a:lnTo>
                    <a:pt x="280000" y="160000"/>
                  </a:lnTo>
                  <a:lnTo>
                    <a:pt x="280000" y="80000"/>
                  </a:lnTo>
                  <a:cubicBezTo>
                    <a:pt x="280000" y="57906"/>
                    <a:pt x="262094" y="40000"/>
                    <a:pt x="240000" y="40000"/>
                  </a:cubicBezTo>
                  <a:lnTo>
                    <a:pt x="240000" y="40000"/>
                  </a:lnTo>
                  <a:close/>
                  <a:moveTo>
                    <a:pt x="560000" y="40000"/>
                  </a:moveTo>
                  <a:lnTo>
                    <a:pt x="440000" y="40000"/>
                  </a:lnTo>
                  <a:cubicBezTo>
                    <a:pt x="417906" y="40000"/>
                    <a:pt x="400000" y="57906"/>
                    <a:pt x="400000" y="80000"/>
                  </a:cubicBezTo>
                  <a:lnTo>
                    <a:pt x="400000" y="80000"/>
                  </a:lnTo>
                  <a:lnTo>
                    <a:pt x="400000" y="160000"/>
                  </a:lnTo>
                  <a:cubicBezTo>
                    <a:pt x="400000" y="193134"/>
                    <a:pt x="426866" y="220000"/>
                    <a:pt x="460000" y="220000"/>
                  </a:cubicBezTo>
                  <a:lnTo>
                    <a:pt x="460000" y="220000"/>
                  </a:lnTo>
                  <a:lnTo>
                    <a:pt x="540000" y="220000"/>
                  </a:lnTo>
                  <a:cubicBezTo>
                    <a:pt x="573134" y="220000"/>
                    <a:pt x="600000" y="193134"/>
                    <a:pt x="600000" y="160000"/>
                  </a:cubicBezTo>
                  <a:lnTo>
                    <a:pt x="600000" y="160000"/>
                  </a:lnTo>
                  <a:lnTo>
                    <a:pt x="600000" y="80000"/>
                  </a:lnTo>
                  <a:cubicBezTo>
                    <a:pt x="600000" y="57906"/>
                    <a:pt x="582094" y="40000"/>
                    <a:pt x="560000" y="40000"/>
                  </a:cubicBezTo>
                  <a:lnTo>
                    <a:pt x="560000" y="40000"/>
                  </a:lnTo>
                  <a:close/>
                  <a:moveTo>
                    <a:pt x="197320" y="59996"/>
                  </a:moveTo>
                  <a:cubicBezTo>
                    <a:pt x="208366" y="59996"/>
                    <a:pt x="217320" y="68950"/>
                    <a:pt x="217320" y="79996"/>
                  </a:cubicBezTo>
                  <a:cubicBezTo>
                    <a:pt x="217320" y="90253"/>
                    <a:pt x="209599" y="98706"/>
                    <a:pt x="199652" y="99861"/>
                  </a:cubicBezTo>
                  <a:lnTo>
                    <a:pt x="197320" y="99996"/>
                  </a:lnTo>
                  <a:lnTo>
                    <a:pt x="140000" y="99980"/>
                  </a:lnTo>
                  <a:lnTo>
                    <a:pt x="140000" y="142236"/>
                  </a:lnTo>
                  <a:cubicBezTo>
                    <a:pt x="140000" y="152493"/>
                    <a:pt x="132279" y="160946"/>
                    <a:pt x="122332" y="162101"/>
                  </a:cubicBezTo>
                  <a:lnTo>
                    <a:pt x="120000" y="162236"/>
                  </a:lnTo>
                  <a:cubicBezTo>
                    <a:pt x="109743" y="162236"/>
                    <a:pt x="101290" y="154515"/>
                    <a:pt x="100135" y="144568"/>
                  </a:cubicBezTo>
                  <a:lnTo>
                    <a:pt x="100000" y="142236"/>
                  </a:lnTo>
                  <a:lnTo>
                    <a:pt x="100000" y="79996"/>
                  </a:lnTo>
                  <a:cubicBezTo>
                    <a:pt x="100000" y="69739"/>
                    <a:pt x="107721" y="61286"/>
                    <a:pt x="117668" y="60131"/>
                  </a:cubicBezTo>
                  <a:lnTo>
                    <a:pt x="120000" y="59996"/>
                  </a:lnTo>
                  <a:lnTo>
                    <a:pt x="197320" y="59996"/>
                  </a:lnTo>
                  <a:close/>
                  <a:moveTo>
                    <a:pt x="517320" y="59996"/>
                  </a:moveTo>
                  <a:cubicBezTo>
                    <a:pt x="528366" y="59996"/>
                    <a:pt x="537320" y="68950"/>
                    <a:pt x="537320" y="79996"/>
                  </a:cubicBezTo>
                  <a:cubicBezTo>
                    <a:pt x="537320" y="90253"/>
                    <a:pt x="529599" y="98706"/>
                    <a:pt x="519652" y="99861"/>
                  </a:cubicBezTo>
                  <a:lnTo>
                    <a:pt x="517320" y="99996"/>
                  </a:lnTo>
                  <a:lnTo>
                    <a:pt x="460000" y="99980"/>
                  </a:lnTo>
                  <a:lnTo>
                    <a:pt x="460000" y="142236"/>
                  </a:lnTo>
                  <a:cubicBezTo>
                    <a:pt x="460000" y="152493"/>
                    <a:pt x="452279" y="160946"/>
                    <a:pt x="442332" y="162101"/>
                  </a:cubicBezTo>
                  <a:lnTo>
                    <a:pt x="440000" y="162236"/>
                  </a:lnTo>
                  <a:cubicBezTo>
                    <a:pt x="429743" y="162236"/>
                    <a:pt x="421290" y="154515"/>
                    <a:pt x="420135" y="144568"/>
                  </a:cubicBezTo>
                  <a:lnTo>
                    <a:pt x="420000" y="142236"/>
                  </a:lnTo>
                  <a:lnTo>
                    <a:pt x="420000" y="79996"/>
                  </a:lnTo>
                  <a:cubicBezTo>
                    <a:pt x="420000" y="69739"/>
                    <a:pt x="427721" y="61286"/>
                    <a:pt x="437668" y="60131"/>
                  </a:cubicBezTo>
                  <a:lnTo>
                    <a:pt x="440000" y="59996"/>
                  </a:lnTo>
                  <a:lnTo>
                    <a:pt x="517320" y="59996"/>
                  </a:lnTo>
                  <a:close/>
                </a:path>
              </a:pathLst>
            </a:custGeom>
            <a:gradFill>
              <a:gsLst>
                <a:gs pos="0">
                  <a:srgbClr val="00D756"/>
                </a:gs>
                <a:gs pos="99000">
                  <a:srgbClr val="27C6E5"/>
                </a:gs>
              </a:gsLst>
              <a:lin ang="0" scaled="0"/>
            </a:gradFill>
            <a:ln w="19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2800"/>
            </a:p>
          </p:txBody>
        </p:sp>
        <p:sp>
          <p:nvSpPr>
            <p:cNvPr id="59" name="Rounded Rectangle 45">
              <a:extLst>
                <a:ext uri="{FF2B5EF4-FFF2-40B4-BE49-F238E27FC236}">
                  <a16:creationId xmlns:a16="http://schemas.microsoft.com/office/drawing/2014/main" id="{C3063D4F-761B-0349-99B8-7DCC02FB7209}"/>
                </a:ext>
              </a:extLst>
            </p:cNvPr>
            <p:cNvSpPr/>
            <p:nvPr/>
          </p:nvSpPr>
          <p:spPr>
            <a:xfrm>
              <a:off x="439381" y="3171120"/>
              <a:ext cx="5067116" cy="720000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799883" rtlCol="0" anchor="ctr"/>
            <a:lstStyle/>
            <a:p>
              <a:r>
                <a:rPr lang="en-US" sz="2800" dirty="0">
                  <a:solidFill>
                    <a:schemeClr val="tx1"/>
                  </a:solidFill>
                </a:rPr>
                <a:t>— </a:t>
              </a:r>
              <a:r>
                <a:rPr lang="ru-RU" sz="2800" dirty="0">
                  <a:solidFill>
                    <a:schemeClr val="tx1"/>
                  </a:solidFill>
                </a:rPr>
                <a:t>Подсистема аудита для анализа событий в ВКС и контроля утечки данных</a:t>
              </a:r>
            </a:p>
          </p:txBody>
        </p:sp>
      </p:grpSp>
      <p:grpSp>
        <p:nvGrpSpPr>
          <p:cNvPr id="60" name="Group 52">
            <a:extLst>
              <a:ext uri="{FF2B5EF4-FFF2-40B4-BE49-F238E27FC236}">
                <a16:creationId xmlns:a16="http://schemas.microsoft.com/office/drawing/2014/main" id="{95E55991-E21A-0443-999C-9F2C97BCC6EA}"/>
              </a:ext>
            </a:extLst>
          </p:cNvPr>
          <p:cNvGrpSpPr/>
          <p:nvPr/>
        </p:nvGrpSpPr>
        <p:grpSpPr>
          <a:xfrm>
            <a:off x="12326095" y="6610712"/>
            <a:ext cx="9166247" cy="1439906"/>
            <a:chOff x="439381" y="4125713"/>
            <a:chExt cx="4583422" cy="720000"/>
          </a:xfrm>
        </p:grpSpPr>
        <p:sp>
          <p:nvSpPr>
            <p:cNvPr id="61" name="Graphic 25">
              <a:extLst>
                <a:ext uri="{FF2B5EF4-FFF2-40B4-BE49-F238E27FC236}">
                  <a16:creationId xmlns:a16="http://schemas.microsoft.com/office/drawing/2014/main" id="{8885BA06-E453-A941-A528-68E7C3671796}"/>
                </a:ext>
              </a:extLst>
            </p:cNvPr>
            <p:cNvSpPr/>
            <p:nvPr/>
          </p:nvSpPr>
          <p:spPr>
            <a:xfrm>
              <a:off x="681917" y="4225713"/>
              <a:ext cx="520000" cy="520000"/>
            </a:xfrm>
            <a:custGeom>
              <a:avLst/>
              <a:gdLst>
                <a:gd name="connsiteX0" fmla="*/ 260000 w 520000"/>
                <a:gd name="connsiteY0" fmla="*/ 0 h 520000"/>
                <a:gd name="connsiteX1" fmla="*/ 520000 w 520000"/>
                <a:gd name="connsiteY1" fmla="*/ 260000 h 520000"/>
                <a:gd name="connsiteX2" fmla="*/ 260000 w 520000"/>
                <a:gd name="connsiteY2" fmla="*/ 520000 h 520000"/>
                <a:gd name="connsiteX3" fmla="*/ 0 w 520000"/>
                <a:gd name="connsiteY3" fmla="*/ 260000 h 520000"/>
                <a:gd name="connsiteX4" fmla="*/ 260000 w 520000"/>
                <a:gd name="connsiteY4" fmla="*/ 0 h 520000"/>
                <a:gd name="connsiteX5" fmla="*/ 260000 w 520000"/>
                <a:gd name="connsiteY5" fmla="*/ 40000 h 520000"/>
                <a:gd name="connsiteX6" fmla="*/ 40000 w 520000"/>
                <a:gd name="connsiteY6" fmla="*/ 260000 h 520000"/>
                <a:gd name="connsiteX7" fmla="*/ 260000 w 520000"/>
                <a:gd name="connsiteY7" fmla="*/ 480000 h 520000"/>
                <a:gd name="connsiteX8" fmla="*/ 480000 w 520000"/>
                <a:gd name="connsiteY8" fmla="*/ 260000 h 520000"/>
                <a:gd name="connsiteX9" fmla="*/ 260000 w 520000"/>
                <a:gd name="connsiteY9" fmla="*/ 40000 h 520000"/>
                <a:gd name="connsiteX10" fmla="*/ 373446 w 520000"/>
                <a:gd name="connsiteY10" fmla="*/ 185822 h 520000"/>
                <a:gd name="connsiteX11" fmla="*/ 375177 w 520000"/>
                <a:gd name="connsiteY11" fmla="*/ 212218 h 520000"/>
                <a:gd name="connsiteX12" fmla="*/ 373518 w 520000"/>
                <a:gd name="connsiteY12" fmla="*/ 214106 h 520000"/>
                <a:gd name="connsiteX13" fmla="*/ 243518 w 520000"/>
                <a:gd name="connsiteY13" fmla="*/ 344766 h 520000"/>
                <a:gd name="connsiteX14" fmla="*/ 217119 w 520000"/>
                <a:gd name="connsiteY14" fmla="*/ 346494 h 520000"/>
                <a:gd name="connsiteX15" fmla="*/ 215231 w 520000"/>
                <a:gd name="connsiteY15" fmla="*/ 344835 h 520000"/>
                <a:gd name="connsiteX16" fmla="*/ 145891 w 520000"/>
                <a:gd name="connsiteY16" fmla="*/ 275815 h 520000"/>
                <a:gd name="connsiteX17" fmla="*/ 145825 w 520000"/>
                <a:gd name="connsiteY17" fmla="*/ 247531 h 520000"/>
                <a:gd name="connsiteX18" fmla="*/ 172221 w 520000"/>
                <a:gd name="connsiteY18" fmla="*/ 245806 h 520000"/>
                <a:gd name="connsiteX19" fmla="*/ 174109 w 520000"/>
                <a:gd name="connsiteY19" fmla="*/ 247465 h 520000"/>
                <a:gd name="connsiteX20" fmla="*/ 229260 w 520000"/>
                <a:gd name="connsiteY20" fmla="*/ 302360 h 520000"/>
                <a:gd name="connsiteX21" fmla="*/ 345162 w 520000"/>
                <a:gd name="connsiteY21" fmla="*/ 185894 h 520000"/>
                <a:gd name="connsiteX22" fmla="*/ 373446 w 520000"/>
                <a:gd name="connsiteY22" fmla="*/ 185822 h 5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20000" h="520000">
                  <a:moveTo>
                    <a:pt x="260000" y="0"/>
                  </a:moveTo>
                  <a:cubicBezTo>
                    <a:pt x="403586" y="0"/>
                    <a:pt x="520000" y="116414"/>
                    <a:pt x="520000" y="260000"/>
                  </a:cubicBezTo>
                  <a:cubicBezTo>
                    <a:pt x="520000" y="403586"/>
                    <a:pt x="403586" y="520000"/>
                    <a:pt x="260000" y="520000"/>
                  </a:cubicBezTo>
                  <a:cubicBezTo>
                    <a:pt x="116414" y="520000"/>
                    <a:pt x="0" y="403586"/>
                    <a:pt x="0" y="260000"/>
                  </a:cubicBezTo>
                  <a:cubicBezTo>
                    <a:pt x="0" y="116414"/>
                    <a:pt x="116414" y="0"/>
                    <a:pt x="260000" y="0"/>
                  </a:cubicBezTo>
                  <a:close/>
                  <a:moveTo>
                    <a:pt x="260000" y="40000"/>
                  </a:moveTo>
                  <a:cubicBezTo>
                    <a:pt x="138506" y="40000"/>
                    <a:pt x="40000" y="138506"/>
                    <a:pt x="40000" y="260000"/>
                  </a:cubicBezTo>
                  <a:cubicBezTo>
                    <a:pt x="40000" y="381494"/>
                    <a:pt x="138506" y="480000"/>
                    <a:pt x="260000" y="480000"/>
                  </a:cubicBezTo>
                  <a:cubicBezTo>
                    <a:pt x="381494" y="480000"/>
                    <a:pt x="480000" y="381494"/>
                    <a:pt x="480000" y="260000"/>
                  </a:cubicBezTo>
                  <a:cubicBezTo>
                    <a:pt x="480000" y="138506"/>
                    <a:pt x="381494" y="40000"/>
                    <a:pt x="260000" y="40000"/>
                  </a:cubicBezTo>
                  <a:close/>
                  <a:moveTo>
                    <a:pt x="373446" y="185822"/>
                  </a:moveTo>
                  <a:cubicBezTo>
                    <a:pt x="380674" y="193014"/>
                    <a:pt x="381258" y="204357"/>
                    <a:pt x="375177" y="212218"/>
                  </a:cubicBezTo>
                  <a:lnTo>
                    <a:pt x="373518" y="214106"/>
                  </a:lnTo>
                  <a:lnTo>
                    <a:pt x="243518" y="344766"/>
                  </a:lnTo>
                  <a:cubicBezTo>
                    <a:pt x="236325" y="351995"/>
                    <a:pt x="224980" y="352578"/>
                    <a:pt x="217119" y="346494"/>
                  </a:cubicBezTo>
                  <a:lnTo>
                    <a:pt x="215231" y="344835"/>
                  </a:lnTo>
                  <a:lnTo>
                    <a:pt x="145891" y="275815"/>
                  </a:lnTo>
                  <a:cubicBezTo>
                    <a:pt x="138062" y="268022"/>
                    <a:pt x="138033" y="255359"/>
                    <a:pt x="145825" y="247531"/>
                  </a:cubicBezTo>
                  <a:cubicBezTo>
                    <a:pt x="153018" y="240304"/>
                    <a:pt x="164362" y="239723"/>
                    <a:pt x="172221" y="245806"/>
                  </a:cubicBezTo>
                  <a:lnTo>
                    <a:pt x="174109" y="247465"/>
                  </a:lnTo>
                  <a:lnTo>
                    <a:pt x="229260" y="302360"/>
                  </a:lnTo>
                  <a:lnTo>
                    <a:pt x="345162" y="185894"/>
                  </a:lnTo>
                  <a:cubicBezTo>
                    <a:pt x="352953" y="178063"/>
                    <a:pt x="365616" y="178031"/>
                    <a:pt x="373446" y="185822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00D756"/>
                </a:gs>
                <a:gs pos="99000">
                  <a:srgbClr val="27C6E5"/>
                </a:gs>
              </a:gsLst>
              <a:lin ang="0" scaled="0"/>
              <a:tileRect/>
            </a:gradFill>
            <a:ln w="19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2800"/>
            </a:p>
          </p:txBody>
        </p:sp>
        <p:sp>
          <p:nvSpPr>
            <p:cNvPr id="62" name="Rounded Rectangle 46">
              <a:extLst>
                <a:ext uri="{FF2B5EF4-FFF2-40B4-BE49-F238E27FC236}">
                  <a16:creationId xmlns:a16="http://schemas.microsoft.com/office/drawing/2014/main" id="{8E42B534-09C8-4741-A417-C8B2109E94D8}"/>
                </a:ext>
              </a:extLst>
            </p:cNvPr>
            <p:cNvSpPr/>
            <p:nvPr/>
          </p:nvSpPr>
          <p:spPr>
            <a:xfrm>
              <a:off x="439381" y="4125713"/>
              <a:ext cx="4583422" cy="720000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799883" rtlCol="0" anchor="ctr"/>
            <a:lstStyle/>
            <a:p>
              <a:r>
                <a:rPr lang="en-US" sz="2800" dirty="0">
                  <a:solidFill>
                    <a:schemeClr val="tx1"/>
                  </a:solidFill>
                </a:rPr>
                <a:t>— </a:t>
              </a:r>
              <a:r>
                <a:rPr lang="ru-RU" sz="2800" dirty="0">
                  <a:solidFill>
                    <a:schemeClr val="tx1"/>
                  </a:solidFill>
                </a:rPr>
                <a:t>Водяной знак для защиты контента при демонстрации экрана</a:t>
              </a:r>
            </a:p>
          </p:txBody>
        </p:sp>
      </p:grpSp>
      <p:grpSp>
        <p:nvGrpSpPr>
          <p:cNvPr id="63" name="Group 53">
            <a:extLst>
              <a:ext uri="{FF2B5EF4-FFF2-40B4-BE49-F238E27FC236}">
                <a16:creationId xmlns:a16="http://schemas.microsoft.com/office/drawing/2014/main" id="{A0D8C8A3-C3BE-C349-BDA7-56BDB0309AA1}"/>
              </a:ext>
            </a:extLst>
          </p:cNvPr>
          <p:cNvGrpSpPr/>
          <p:nvPr/>
        </p:nvGrpSpPr>
        <p:grpSpPr>
          <a:xfrm>
            <a:off x="1867939" y="8600022"/>
            <a:ext cx="7777388" cy="1439906"/>
            <a:chOff x="439381" y="4990702"/>
            <a:chExt cx="3888947" cy="720000"/>
          </a:xfrm>
        </p:grpSpPr>
        <p:sp>
          <p:nvSpPr>
            <p:cNvPr id="65" name="Graphic 40">
              <a:extLst>
                <a:ext uri="{FF2B5EF4-FFF2-40B4-BE49-F238E27FC236}">
                  <a16:creationId xmlns:a16="http://schemas.microsoft.com/office/drawing/2014/main" id="{B64836FB-19BD-F943-A159-051FF1485870}"/>
                </a:ext>
              </a:extLst>
            </p:cNvPr>
            <p:cNvSpPr/>
            <p:nvPr/>
          </p:nvSpPr>
          <p:spPr>
            <a:xfrm>
              <a:off x="671917" y="5133202"/>
              <a:ext cx="540000" cy="435000"/>
            </a:xfrm>
            <a:custGeom>
              <a:avLst/>
              <a:gdLst>
                <a:gd name="connsiteX0" fmla="*/ 200000 w 540000"/>
                <a:gd name="connsiteY0" fmla="*/ 255000 h 435000"/>
                <a:gd name="connsiteX1" fmla="*/ 320000 w 540000"/>
                <a:gd name="connsiteY1" fmla="*/ 375000 h 435000"/>
                <a:gd name="connsiteX2" fmla="*/ 260000 w 540000"/>
                <a:gd name="connsiteY2" fmla="*/ 435000 h 435000"/>
                <a:gd name="connsiteX3" fmla="*/ 60000 w 540000"/>
                <a:gd name="connsiteY3" fmla="*/ 435000 h 435000"/>
                <a:gd name="connsiteX4" fmla="*/ 0 w 540000"/>
                <a:gd name="connsiteY4" fmla="*/ 375000 h 435000"/>
                <a:gd name="connsiteX5" fmla="*/ 120000 w 540000"/>
                <a:gd name="connsiteY5" fmla="*/ 255000 h 435000"/>
                <a:gd name="connsiteX6" fmla="*/ 200000 w 540000"/>
                <a:gd name="connsiteY6" fmla="*/ 255000 h 435000"/>
                <a:gd name="connsiteX7" fmla="*/ 420000 w 540000"/>
                <a:gd name="connsiteY7" fmla="*/ 215000 h 435000"/>
                <a:gd name="connsiteX8" fmla="*/ 540000 w 540000"/>
                <a:gd name="connsiteY8" fmla="*/ 335000 h 435000"/>
                <a:gd name="connsiteX9" fmla="*/ 480000 w 540000"/>
                <a:gd name="connsiteY9" fmla="*/ 395000 h 435000"/>
                <a:gd name="connsiteX10" fmla="*/ 480000 w 540000"/>
                <a:gd name="connsiteY10" fmla="*/ 395000 h 435000"/>
                <a:gd name="connsiteX11" fmla="*/ 400000 w 540000"/>
                <a:gd name="connsiteY11" fmla="*/ 395000 h 435000"/>
                <a:gd name="connsiteX12" fmla="*/ 380000 w 540000"/>
                <a:gd name="connsiteY12" fmla="*/ 375000 h 435000"/>
                <a:gd name="connsiteX13" fmla="*/ 400000 w 540000"/>
                <a:gd name="connsiteY13" fmla="*/ 355000 h 435000"/>
                <a:gd name="connsiteX14" fmla="*/ 400000 w 540000"/>
                <a:gd name="connsiteY14" fmla="*/ 355000 h 435000"/>
                <a:gd name="connsiteX15" fmla="*/ 480000 w 540000"/>
                <a:gd name="connsiteY15" fmla="*/ 355000 h 435000"/>
                <a:gd name="connsiteX16" fmla="*/ 500000 w 540000"/>
                <a:gd name="connsiteY16" fmla="*/ 335000 h 435000"/>
                <a:gd name="connsiteX17" fmla="*/ 420000 w 540000"/>
                <a:gd name="connsiteY17" fmla="*/ 255000 h 435000"/>
                <a:gd name="connsiteX18" fmla="*/ 420000 w 540000"/>
                <a:gd name="connsiteY18" fmla="*/ 255000 h 435000"/>
                <a:gd name="connsiteX19" fmla="*/ 340000 w 540000"/>
                <a:gd name="connsiteY19" fmla="*/ 255000 h 435000"/>
                <a:gd name="connsiteX20" fmla="*/ 320000 w 540000"/>
                <a:gd name="connsiteY20" fmla="*/ 235000 h 435000"/>
                <a:gd name="connsiteX21" fmla="*/ 340000 w 540000"/>
                <a:gd name="connsiteY21" fmla="*/ 215000 h 435000"/>
                <a:gd name="connsiteX22" fmla="*/ 340000 w 540000"/>
                <a:gd name="connsiteY22" fmla="*/ 215000 h 435000"/>
                <a:gd name="connsiteX23" fmla="*/ 200000 w 540000"/>
                <a:gd name="connsiteY23" fmla="*/ 295000 h 435000"/>
                <a:gd name="connsiteX24" fmla="*/ 120000 w 540000"/>
                <a:gd name="connsiteY24" fmla="*/ 295000 h 435000"/>
                <a:gd name="connsiteX25" fmla="*/ 40000 w 540000"/>
                <a:gd name="connsiteY25" fmla="*/ 375000 h 435000"/>
                <a:gd name="connsiteX26" fmla="*/ 60000 w 540000"/>
                <a:gd name="connsiteY26" fmla="*/ 395000 h 435000"/>
                <a:gd name="connsiteX27" fmla="*/ 260000 w 540000"/>
                <a:gd name="connsiteY27" fmla="*/ 395000 h 435000"/>
                <a:gd name="connsiteX28" fmla="*/ 280000 w 540000"/>
                <a:gd name="connsiteY28" fmla="*/ 375000 h 435000"/>
                <a:gd name="connsiteX29" fmla="*/ 200000 w 540000"/>
                <a:gd name="connsiteY29" fmla="*/ 295000 h 435000"/>
                <a:gd name="connsiteX30" fmla="*/ 160000 w 540000"/>
                <a:gd name="connsiteY30" fmla="*/ 40000 h 435000"/>
                <a:gd name="connsiteX31" fmla="*/ 240000 w 540000"/>
                <a:gd name="connsiteY31" fmla="*/ 120000 h 435000"/>
                <a:gd name="connsiteX32" fmla="*/ 240000 w 540000"/>
                <a:gd name="connsiteY32" fmla="*/ 135000 h 435000"/>
                <a:gd name="connsiteX33" fmla="*/ 164103 w 540000"/>
                <a:gd name="connsiteY33" fmla="*/ 214890 h 435000"/>
                <a:gd name="connsiteX34" fmla="*/ 160000 w 540000"/>
                <a:gd name="connsiteY34" fmla="*/ 215000 h 435000"/>
                <a:gd name="connsiteX35" fmla="*/ 80000 w 540000"/>
                <a:gd name="connsiteY35" fmla="*/ 135000 h 435000"/>
                <a:gd name="connsiteX36" fmla="*/ 80000 w 540000"/>
                <a:gd name="connsiteY36" fmla="*/ 120000 h 435000"/>
                <a:gd name="connsiteX37" fmla="*/ 160000 w 540000"/>
                <a:gd name="connsiteY37" fmla="*/ 40000 h 435000"/>
                <a:gd name="connsiteX38" fmla="*/ 160000 w 540000"/>
                <a:gd name="connsiteY38" fmla="*/ 80000 h 435000"/>
                <a:gd name="connsiteX39" fmla="*/ 120000 w 540000"/>
                <a:gd name="connsiteY39" fmla="*/ 120000 h 435000"/>
                <a:gd name="connsiteX40" fmla="*/ 120000 w 540000"/>
                <a:gd name="connsiteY40" fmla="*/ 135000 h 435000"/>
                <a:gd name="connsiteX41" fmla="*/ 159422 w 540000"/>
                <a:gd name="connsiteY41" fmla="*/ 175008 h 435000"/>
                <a:gd name="connsiteX42" fmla="*/ 162368 w 540000"/>
                <a:gd name="connsiteY42" fmla="*/ 174932 h 435000"/>
                <a:gd name="connsiteX43" fmla="*/ 200000 w 540000"/>
                <a:gd name="connsiteY43" fmla="*/ 135000 h 435000"/>
                <a:gd name="connsiteX44" fmla="*/ 200000 w 540000"/>
                <a:gd name="connsiteY44" fmla="*/ 120000 h 435000"/>
                <a:gd name="connsiteX45" fmla="*/ 160000 w 540000"/>
                <a:gd name="connsiteY45" fmla="*/ 80000 h 435000"/>
                <a:gd name="connsiteX46" fmla="*/ 380000 w 540000"/>
                <a:gd name="connsiteY46" fmla="*/ 0 h 435000"/>
                <a:gd name="connsiteX47" fmla="*/ 460000 w 540000"/>
                <a:gd name="connsiteY47" fmla="*/ 80000 h 435000"/>
                <a:gd name="connsiteX48" fmla="*/ 460000 w 540000"/>
                <a:gd name="connsiteY48" fmla="*/ 95000 h 435000"/>
                <a:gd name="connsiteX49" fmla="*/ 384103 w 540000"/>
                <a:gd name="connsiteY49" fmla="*/ 174890 h 435000"/>
                <a:gd name="connsiteX50" fmla="*/ 380000 w 540000"/>
                <a:gd name="connsiteY50" fmla="*/ 175000 h 435000"/>
                <a:gd name="connsiteX51" fmla="*/ 300000 w 540000"/>
                <a:gd name="connsiteY51" fmla="*/ 95000 h 435000"/>
                <a:gd name="connsiteX52" fmla="*/ 300000 w 540000"/>
                <a:gd name="connsiteY52" fmla="*/ 80000 h 435000"/>
                <a:gd name="connsiteX53" fmla="*/ 380000 w 540000"/>
                <a:gd name="connsiteY53" fmla="*/ 0 h 435000"/>
                <a:gd name="connsiteX54" fmla="*/ 380000 w 540000"/>
                <a:gd name="connsiteY54" fmla="*/ 40000 h 435000"/>
                <a:gd name="connsiteX55" fmla="*/ 340000 w 540000"/>
                <a:gd name="connsiteY55" fmla="*/ 80000 h 435000"/>
                <a:gd name="connsiteX56" fmla="*/ 340000 w 540000"/>
                <a:gd name="connsiteY56" fmla="*/ 95000 h 435000"/>
                <a:gd name="connsiteX57" fmla="*/ 379422 w 540000"/>
                <a:gd name="connsiteY57" fmla="*/ 135008 h 435000"/>
                <a:gd name="connsiteX58" fmla="*/ 382368 w 540000"/>
                <a:gd name="connsiteY58" fmla="*/ 134932 h 435000"/>
                <a:gd name="connsiteX59" fmla="*/ 420000 w 540000"/>
                <a:gd name="connsiteY59" fmla="*/ 95000 h 435000"/>
                <a:gd name="connsiteX60" fmla="*/ 420000 w 540000"/>
                <a:gd name="connsiteY60" fmla="*/ 80000 h 435000"/>
                <a:gd name="connsiteX61" fmla="*/ 380000 w 540000"/>
                <a:gd name="connsiteY61" fmla="*/ 40000 h 435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540000" h="435000">
                  <a:moveTo>
                    <a:pt x="200000" y="255000"/>
                  </a:moveTo>
                  <a:cubicBezTo>
                    <a:pt x="266279" y="255000"/>
                    <a:pt x="320000" y="308728"/>
                    <a:pt x="320000" y="375000"/>
                  </a:cubicBezTo>
                  <a:cubicBezTo>
                    <a:pt x="320000" y="408126"/>
                    <a:pt x="293126" y="435000"/>
                    <a:pt x="260000" y="435000"/>
                  </a:cubicBezTo>
                  <a:lnTo>
                    <a:pt x="60000" y="435000"/>
                  </a:lnTo>
                  <a:cubicBezTo>
                    <a:pt x="26874" y="435000"/>
                    <a:pt x="0" y="408126"/>
                    <a:pt x="0" y="375000"/>
                  </a:cubicBezTo>
                  <a:cubicBezTo>
                    <a:pt x="0" y="308734"/>
                    <a:pt x="53734" y="255000"/>
                    <a:pt x="120000" y="255000"/>
                  </a:cubicBezTo>
                  <a:lnTo>
                    <a:pt x="200000" y="255000"/>
                  </a:lnTo>
                  <a:close/>
                  <a:moveTo>
                    <a:pt x="420000" y="215000"/>
                  </a:moveTo>
                  <a:cubicBezTo>
                    <a:pt x="486279" y="215000"/>
                    <a:pt x="540000" y="268728"/>
                    <a:pt x="540000" y="335000"/>
                  </a:cubicBezTo>
                  <a:cubicBezTo>
                    <a:pt x="540000" y="368126"/>
                    <a:pt x="513126" y="395000"/>
                    <a:pt x="480000" y="395000"/>
                  </a:cubicBezTo>
                  <a:lnTo>
                    <a:pt x="480000" y="395000"/>
                  </a:lnTo>
                  <a:lnTo>
                    <a:pt x="400000" y="395000"/>
                  </a:lnTo>
                  <a:cubicBezTo>
                    <a:pt x="388954" y="395000"/>
                    <a:pt x="380000" y="386046"/>
                    <a:pt x="380000" y="375000"/>
                  </a:cubicBezTo>
                  <a:cubicBezTo>
                    <a:pt x="380000" y="363954"/>
                    <a:pt x="388954" y="355000"/>
                    <a:pt x="400000" y="355000"/>
                  </a:cubicBezTo>
                  <a:lnTo>
                    <a:pt x="400000" y="355000"/>
                  </a:lnTo>
                  <a:lnTo>
                    <a:pt x="480000" y="355000"/>
                  </a:lnTo>
                  <a:cubicBezTo>
                    <a:pt x="491034" y="355000"/>
                    <a:pt x="500000" y="346034"/>
                    <a:pt x="500000" y="335000"/>
                  </a:cubicBezTo>
                  <a:cubicBezTo>
                    <a:pt x="500000" y="290818"/>
                    <a:pt x="464187" y="255000"/>
                    <a:pt x="420000" y="255000"/>
                  </a:cubicBezTo>
                  <a:lnTo>
                    <a:pt x="420000" y="255000"/>
                  </a:lnTo>
                  <a:lnTo>
                    <a:pt x="340000" y="255000"/>
                  </a:lnTo>
                  <a:cubicBezTo>
                    <a:pt x="328954" y="255000"/>
                    <a:pt x="320000" y="246046"/>
                    <a:pt x="320000" y="235000"/>
                  </a:cubicBezTo>
                  <a:cubicBezTo>
                    <a:pt x="320000" y="223954"/>
                    <a:pt x="328954" y="215000"/>
                    <a:pt x="340000" y="215000"/>
                  </a:cubicBezTo>
                  <a:lnTo>
                    <a:pt x="340000" y="215000"/>
                  </a:lnTo>
                  <a:close/>
                  <a:moveTo>
                    <a:pt x="200000" y="295000"/>
                  </a:moveTo>
                  <a:lnTo>
                    <a:pt x="120000" y="295000"/>
                  </a:lnTo>
                  <a:cubicBezTo>
                    <a:pt x="75826" y="295000"/>
                    <a:pt x="40000" y="330826"/>
                    <a:pt x="40000" y="375000"/>
                  </a:cubicBezTo>
                  <a:cubicBezTo>
                    <a:pt x="40000" y="386034"/>
                    <a:pt x="48966" y="395000"/>
                    <a:pt x="60000" y="395000"/>
                  </a:cubicBezTo>
                  <a:lnTo>
                    <a:pt x="260000" y="395000"/>
                  </a:lnTo>
                  <a:cubicBezTo>
                    <a:pt x="271034" y="395000"/>
                    <a:pt x="280000" y="386034"/>
                    <a:pt x="280000" y="375000"/>
                  </a:cubicBezTo>
                  <a:cubicBezTo>
                    <a:pt x="280000" y="330818"/>
                    <a:pt x="244187" y="295000"/>
                    <a:pt x="200000" y="295000"/>
                  </a:cubicBezTo>
                  <a:close/>
                  <a:moveTo>
                    <a:pt x="160000" y="40000"/>
                  </a:moveTo>
                  <a:cubicBezTo>
                    <a:pt x="204181" y="40000"/>
                    <a:pt x="240000" y="75819"/>
                    <a:pt x="240000" y="120000"/>
                  </a:cubicBezTo>
                  <a:lnTo>
                    <a:pt x="240000" y="135000"/>
                  </a:lnTo>
                  <a:cubicBezTo>
                    <a:pt x="240000" y="177433"/>
                    <a:pt x="206870" y="212420"/>
                    <a:pt x="164103" y="214890"/>
                  </a:cubicBezTo>
                  <a:lnTo>
                    <a:pt x="160000" y="215000"/>
                  </a:lnTo>
                  <a:cubicBezTo>
                    <a:pt x="115819" y="215000"/>
                    <a:pt x="80000" y="179181"/>
                    <a:pt x="80000" y="135000"/>
                  </a:cubicBezTo>
                  <a:lnTo>
                    <a:pt x="80000" y="120000"/>
                  </a:lnTo>
                  <a:cubicBezTo>
                    <a:pt x="80000" y="75819"/>
                    <a:pt x="115819" y="40000"/>
                    <a:pt x="160000" y="40000"/>
                  </a:cubicBezTo>
                  <a:close/>
                  <a:moveTo>
                    <a:pt x="160000" y="80000"/>
                  </a:moveTo>
                  <a:cubicBezTo>
                    <a:pt x="137911" y="80000"/>
                    <a:pt x="120000" y="97911"/>
                    <a:pt x="120000" y="120000"/>
                  </a:cubicBezTo>
                  <a:lnTo>
                    <a:pt x="120000" y="135000"/>
                  </a:lnTo>
                  <a:cubicBezTo>
                    <a:pt x="120000" y="157089"/>
                    <a:pt x="137911" y="175000"/>
                    <a:pt x="159422" y="175008"/>
                  </a:cubicBezTo>
                  <a:lnTo>
                    <a:pt x="162368" y="174932"/>
                  </a:lnTo>
                  <a:cubicBezTo>
                    <a:pt x="183429" y="173711"/>
                    <a:pt x="200000" y="156211"/>
                    <a:pt x="200000" y="135000"/>
                  </a:cubicBezTo>
                  <a:lnTo>
                    <a:pt x="200000" y="120000"/>
                  </a:lnTo>
                  <a:cubicBezTo>
                    <a:pt x="200000" y="97911"/>
                    <a:pt x="182089" y="80000"/>
                    <a:pt x="160000" y="80000"/>
                  </a:cubicBezTo>
                  <a:close/>
                  <a:moveTo>
                    <a:pt x="380000" y="0"/>
                  </a:moveTo>
                  <a:cubicBezTo>
                    <a:pt x="424181" y="0"/>
                    <a:pt x="460000" y="35819"/>
                    <a:pt x="460000" y="80000"/>
                  </a:cubicBezTo>
                  <a:lnTo>
                    <a:pt x="460000" y="95000"/>
                  </a:lnTo>
                  <a:cubicBezTo>
                    <a:pt x="460000" y="137433"/>
                    <a:pt x="426870" y="172420"/>
                    <a:pt x="384103" y="174890"/>
                  </a:cubicBezTo>
                  <a:lnTo>
                    <a:pt x="380000" y="175000"/>
                  </a:lnTo>
                  <a:cubicBezTo>
                    <a:pt x="335819" y="175000"/>
                    <a:pt x="300000" y="139181"/>
                    <a:pt x="300000" y="95000"/>
                  </a:cubicBezTo>
                  <a:lnTo>
                    <a:pt x="300000" y="80000"/>
                  </a:lnTo>
                  <a:cubicBezTo>
                    <a:pt x="300000" y="35819"/>
                    <a:pt x="335819" y="0"/>
                    <a:pt x="380000" y="0"/>
                  </a:cubicBezTo>
                  <a:close/>
                  <a:moveTo>
                    <a:pt x="380000" y="40000"/>
                  </a:moveTo>
                  <a:cubicBezTo>
                    <a:pt x="357911" y="40000"/>
                    <a:pt x="340000" y="57911"/>
                    <a:pt x="340000" y="80000"/>
                  </a:cubicBezTo>
                  <a:lnTo>
                    <a:pt x="340000" y="95000"/>
                  </a:lnTo>
                  <a:cubicBezTo>
                    <a:pt x="340000" y="117089"/>
                    <a:pt x="357911" y="135000"/>
                    <a:pt x="379422" y="135008"/>
                  </a:cubicBezTo>
                  <a:lnTo>
                    <a:pt x="382368" y="134932"/>
                  </a:lnTo>
                  <a:cubicBezTo>
                    <a:pt x="403429" y="133711"/>
                    <a:pt x="420000" y="116211"/>
                    <a:pt x="420000" y="95000"/>
                  </a:cubicBezTo>
                  <a:lnTo>
                    <a:pt x="420000" y="80000"/>
                  </a:lnTo>
                  <a:cubicBezTo>
                    <a:pt x="420000" y="57911"/>
                    <a:pt x="402089" y="40000"/>
                    <a:pt x="380000" y="40000"/>
                  </a:cubicBezTo>
                  <a:close/>
                </a:path>
              </a:pathLst>
            </a:custGeom>
            <a:gradFill>
              <a:gsLst>
                <a:gs pos="0">
                  <a:srgbClr val="00D756"/>
                </a:gs>
                <a:gs pos="99000">
                  <a:srgbClr val="27C6E5"/>
                </a:gs>
              </a:gsLst>
              <a:lin ang="0" scaled="0"/>
            </a:gradFill>
            <a:ln w="19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2800"/>
            </a:p>
          </p:txBody>
        </p:sp>
        <p:sp>
          <p:nvSpPr>
            <p:cNvPr id="66" name="Rounded Rectangle 47">
              <a:extLst>
                <a:ext uri="{FF2B5EF4-FFF2-40B4-BE49-F238E27FC236}">
                  <a16:creationId xmlns:a16="http://schemas.microsoft.com/office/drawing/2014/main" id="{8BF24530-A4EE-6846-A191-AAE5AC9E2E38}"/>
                </a:ext>
              </a:extLst>
            </p:cNvPr>
            <p:cNvSpPr/>
            <p:nvPr/>
          </p:nvSpPr>
          <p:spPr>
            <a:xfrm>
              <a:off x="439381" y="4990702"/>
              <a:ext cx="3888947" cy="720000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799883" rtlCol="0" anchor="ctr"/>
            <a:lstStyle/>
            <a:p>
              <a:r>
                <a:rPr lang="en-US" sz="2800" dirty="0">
                  <a:solidFill>
                    <a:schemeClr val="tx1"/>
                  </a:solidFill>
                </a:rPr>
                <a:t>— </a:t>
              </a:r>
              <a:r>
                <a:rPr lang="ru-RU" sz="2800" dirty="0">
                  <a:solidFill>
                    <a:schemeClr val="tx1"/>
                  </a:solidFill>
                </a:rPr>
                <a:t>Зал ожидания для контроля участников</a:t>
              </a:r>
            </a:p>
          </p:txBody>
        </p:sp>
      </p:grpSp>
      <p:grpSp>
        <p:nvGrpSpPr>
          <p:cNvPr id="67" name="Group 54">
            <a:extLst>
              <a:ext uri="{FF2B5EF4-FFF2-40B4-BE49-F238E27FC236}">
                <a16:creationId xmlns:a16="http://schemas.microsoft.com/office/drawing/2014/main" id="{E97368DC-6ADF-CE4D-8274-A8C468E9EF0D}"/>
              </a:ext>
            </a:extLst>
          </p:cNvPr>
          <p:cNvGrpSpPr/>
          <p:nvPr/>
        </p:nvGrpSpPr>
        <p:grpSpPr>
          <a:xfrm>
            <a:off x="9875143" y="8600022"/>
            <a:ext cx="13107691" cy="1439906"/>
            <a:chOff x="439381" y="5641409"/>
            <a:chExt cx="6554272" cy="720000"/>
          </a:xfrm>
        </p:grpSpPr>
        <p:sp>
          <p:nvSpPr>
            <p:cNvPr id="68" name="Graphic 28">
              <a:extLst>
                <a:ext uri="{FF2B5EF4-FFF2-40B4-BE49-F238E27FC236}">
                  <a16:creationId xmlns:a16="http://schemas.microsoft.com/office/drawing/2014/main" id="{B5E445BD-2E01-F54C-A5AF-59791719E00E}"/>
                </a:ext>
              </a:extLst>
            </p:cNvPr>
            <p:cNvSpPr/>
            <p:nvPr/>
          </p:nvSpPr>
          <p:spPr>
            <a:xfrm>
              <a:off x="681913" y="5781409"/>
              <a:ext cx="520008" cy="440000"/>
            </a:xfrm>
            <a:custGeom>
              <a:avLst/>
              <a:gdLst>
                <a:gd name="connsiteX0" fmla="*/ 447559 w 520008"/>
                <a:gd name="connsiteY0" fmla="*/ 4340 h 440000"/>
                <a:gd name="connsiteX1" fmla="*/ 474144 w 520008"/>
                <a:gd name="connsiteY1" fmla="*/ 5858 h 440000"/>
                <a:gd name="connsiteX2" fmla="*/ 474144 w 520008"/>
                <a:gd name="connsiteY2" fmla="*/ 34142 h 440000"/>
                <a:gd name="connsiteX3" fmla="*/ 474144 w 520008"/>
                <a:gd name="connsiteY3" fmla="*/ 34142 h 440000"/>
                <a:gd name="connsiteX4" fmla="*/ 74144 w 520008"/>
                <a:gd name="connsiteY4" fmla="*/ 434142 h 440000"/>
                <a:gd name="connsiteX5" fmla="*/ 45860 w 520008"/>
                <a:gd name="connsiteY5" fmla="*/ 434142 h 440000"/>
                <a:gd name="connsiteX6" fmla="*/ 45860 w 520008"/>
                <a:gd name="connsiteY6" fmla="*/ 405858 h 440000"/>
                <a:gd name="connsiteX7" fmla="*/ 45860 w 520008"/>
                <a:gd name="connsiteY7" fmla="*/ 405858 h 440000"/>
                <a:gd name="connsiteX8" fmla="*/ 47012 w 520008"/>
                <a:gd name="connsiteY8" fmla="*/ 404685 h 440000"/>
                <a:gd name="connsiteX9" fmla="*/ 51172 w 520008"/>
                <a:gd name="connsiteY9" fmla="*/ 398622 h 440000"/>
                <a:gd name="connsiteX10" fmla="*/ 51172 w 520008"/>
                <a:gd name="connsiteY10" fmla="*/ 398622 h 440000"/>
                <a:gd name="connsiteX11" fmla="*/ 103092 w 520008"/>
                <a:gd name="connsiteY11" fmla="*/ 346725 h 440000"/>
                <a:gd name="connsiteX12" fmla="*/ 2687 w 520008"/>
                <a:gd name="connsiteY12" fmla="*/ 231061 h 440000"/>
                <a:gd name="connsiteX13" fmla="*/ 2688 w 520008"/>
                <a:gd name="connsiteY13" fmla="*/ 211033 h 440000"/>
                <a:gd name="connsiteX14" fmla="*/ 260000 w 520008"/>
                <a:gd name="connsiteY14" fmla="*/ 41048 h 440000"/>
                <a:gd name="connsiteX15" fmla="*/ 378598 w 520008"/>
                <a:gd name="connsiteY15" fmla="*/ 71122 h 440000"/>
                <a:gd name="connsiteX16" fmla="*/ 378661 w 520008"/>
                <a:gd name="connsiteY16" fmla="*/ 71155 h 440000"/>
                <a:gd name="connsiteX17" fmla="*/ 441172 w 520008"/>
                <a:gd name="connsiteY17" fmla="*/ 8622 h 440000"/>
                <a:gd name="connsiteX18" fmla="*/ 447235 w 520008"/>
                <a:gd name="connsiteY18" fmla="*/ 4462 h 440000"/>
                <a:gd name="connsiteX19" fmla="*/ 420196 w 520008"/>
                <a:gd name="connsiteY19" fmla="*/ 122728 h 440000"/>
                <a:gd name="connsiteX20" fmla="*/ 448474 w 520008"/>
                <a:gd name="connsiteY20" fmla="*/ 122142 h 440000"/>
                <a:gd name="connsiteX21" fmla="*/ 517317 w 520008"/>
                <a:gd name="connsiteY21" fmla="*/ 211035 h 440000"/>
                <a:gd name="connsiteX22" fmla="*/ 517318 w 520008"/>
                <a:gd name="connsiteY22" fmla="*/ 231072 h 440000"/>
                <a:gd name="connsiteX23" fmla="*/ 260008 w 520008"/>
                <a:gd name="connsiteY23" fmla="*/ 401054 h 440000"/>
                <a:gd name="connsiteX24" fmla="*/ 190775 w 520008"/>
                <a:gd name="connsiteY24" fmla="*/ 391090 h 440000"/>
                <a:gd name="connsiteX25" fmla="*/ 177192 w 520008"/>
                <a:gd name="connsiteY25" fmla="*/ 366281 h 440000"/>
                <a:gd name="connsiteX26" fmla="*/ 202001 w 520008"/>
                <a:gd name="connsiteY26" fmla="*/ 352698 h 440000"/>
                <a:gd name="connsiteX27" fmla="*/ 260008 w 520008"/>
                <a:gd name="connsiteY27" fmla="*/ 361054 h 440000"/>
                <a:gd name="connsiteX28" fmla="*/ 476710 w 520008"/>
                <a:gd name="connsiteY28" fmla="*/ 221056 h 440000"/>
                <a:gd name="connsiteX29" fmla="*/ 476710 w 520008"/>
                <a:gd name="connsiteY29" fmla="*/ 221056 h 440000"/>
                <a:gd name="connsiteX30" fmla="*/ 471135 w 520008"/>
                <a:gd name="connsiteY30" fmla="*/ 212280 h 440000"/>
                <a:gd name="connsiteX31" fmla="*/ 420782 w 520008"/>
                <a:gd name="connsiteY31" fmla="*/ 151006 h 440000"/>
                <a:gd name="connsiteX32" fmla="*/ 420196 w 520008"/>
                <a:gd name="connsiteY32" fmla="*/ 122728 h 440000"/>
                <a:gd name="connsiteX33" fmla="*/ 340002 w 520008"/>
                <a:gd name="connsiteY33" fmla="*/ 201054 h 440000"/>
                <a:gd name="connsiteX34" fmla="*/ 360002 w 520008"/>
                <a:gd name="connsiteY34" fmla="*/ 221054 h 440000"/>
                <a:gd name="connsiteX35" fmla="*/ 260002 w 520008"/>
                <a:gd name="connsiteY35" fmla="*/ 321054 h 440000"/>
                <a:gd name="connsiteX36" fmla="*/ 240002 w 520008"/>
                <a:gd name="connsiteY36" fmla="*/ 301054 h 440000"/>
                <a:gd name="connsiteX37" fmla="*/ 260002 w 520008"/>
                <a:gd name="connsiteY37" fmla="*/ 281054 h 440000"/>
                <a:gd name="connsiteX38" fmla="*/ 320002 w 520008"/>
                <a:gd name="connsiteY38" fmla="*/ 221054 h 440000"/>
                <a:gd name="connsiteX39" fmla="*/ 320002 w 520008"/>
                <a:gd name="connsiteY39" fmla="*/ 221054 h 440000"/>
                <a:gd name="connsiteX40" fmla="*/ 320137 w 520008"/>
                <a:gd name="connsiteY40" fmla="*/ 218722 h 440000"/>
                <a:gd name="connsiteX41" fmla="*/ 340002 w 520008"/>
                <a:gd name="connsiteY41" fmla="*/ 201054 h 440000"/>
                <a:gd name="connsiteX42" fmla="*/ 260000 w 520008"/>
                <a:gd name="connsiteY42" fmla="*/ 81048 h 440000"/>
                <a:gd name="connsiteX43" fmla="*/ 43294 w 520008"/>
                <a:gd name="connsiteY43" fmla="*/ 221048 h 440000"/>
                <a:gd name="connsiteX44" fmla="*/ 43294 w 520008"/>
                <a:gd name="connsiteY44" fmla="*/ 221048 h 440000"/>
                <a:gd name="connsiteX45" fmla="*/ 48361 w 520008"/>
                <a:gd name="connsiteY45" fmla="*/ 229049 h 440000"/>
                <a:gd name="connsiteX46" fmla="*/ 132505 w 520008"/>
                <a:gd name="connsiteY46" fmla="*/ 318642 h 440000"/>
                <a:gd name="connsiteX47" fmla="*/ 131720 w 520008"/>
                <a:gd name="connsiteY47" fmla="*/ 318060 h 440000"/>
                <a:gd name="connsiteX48" fmla="*/ 175409 w 520008"/>
                <a:gd name="connsiteY48" fmla="*/ 274387 h 440000"/>
                <a:gd name="connsiteX49" fmla="*/ 160143 w 520008"/>
                <a:gd name="connsiteY49" fmla="*/ 226542 h 440000"/>
                <a:gd name="connsiteX50" fmla="*/ 159994 w 520008"/>
                <a:gd name="connsiteY50" fmla="*/ 221060 h 440000"/>
                <a:gd name="connsiteX51" fmla="*/ 259994 w 520008"/>
                <a:gd name="connsiteY51" fmla="*/ 121060 h 440000"/>
                <a:gd name="connsiteX52" fmla="*/ 314916 w 520008"/>
                <a:gd name="connsiteY52" fmla="*/ 137458 h 440000"/>
                <a:gd name="connsiteX53" fmla="*/ 313320 w 520008"/>
                <a:gd name="connsiteY53" fmla="*/ 136460 h 440000"/>
                <a:gd name="connsiteX54" fmla="*/ 348792 w 520008"/>
                <a:gd name="connsiteY54" fmla="*/ 100985 h 440000"/>
                <a:gd name="connsiteX55" fmla="*/ 267375 w 520008"/>
                <a:gd name="connsiteY55" fmla="*/ 81180 h 440000"/>
                <a:gd name="connsiteX56" fmla="*/ 259994 w 520008"/>
                <a:gd name="connsiteY56" fmla="*/ 161060 h 440000"/>
                <a:gd name="connsiteX57" fmla="*/ 199994 w 520008"/>
                <a:gd name="connsiteY57" fmla="*/ 221060 h 440000"/>
                <a:gd name="connsiteX58" fmla="*/ 204909 w 520008"/>
                <a:gd name="connsiteY58" fmla="*/ 244868 h 440000"/>
                <a:gd name="connsiteX59" fmla="*/ 283826 w 520008"/>
                <a:gd name="connsiteY59" fmla="*/ 165952 h 440000"/>
                <a:gd name="connsiteX60" fmla="*/ 259994 w 520008"/>
                <a:gd name="connsiteY60" fmla="*/ 161060 h 44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520008" h="440000">
                  <a:moveTo>
                    <a:pt x="447559" y="4340"/>
                  </a:moveTo>
                  <a:cubicBezTo>
                    <a:pt x="455410" y="-1915"/>
                    <a:pt x="466878" y="-1409"/>
                    <a:pt x="474144" y="5858"/>
                  </a:cubicBezTo>
                  <a:cubicBezTo>
                    <a:pt x="481955" y="13668"/>
                    <a:pt x="481955" y="26332"/>
                    <a:pt x="474144" y="34142"/>
                  </a:cubicBezTo>
                  <a:lnTo>
                    <a:pt x="474144" y="34142"/>
                  </a:lnTo>
                  <a:lnTo>
                    <a:pt x="74144" y="434142"/>
                  </a:lnTo>
                  <a:cubicBezTo>
                    <a:pt x="66334" y="441953"/>
                    <a:pt x="53670" y="441953"/>
                    <a:pt x="45860" y="434142"/>
                  </a:cubicBezTo>
                  <a:cubicBezTo>
                    <a:pt x="38049" y="426332"/>
                    <a:pt x="38049" y="413668"/>
                    <a:pt x="45860" y="405858"/>
                  </a:cubicBezTo>
                  <a:lnTo>
                    <a:pt x="45860" y="405858"/>
                  </a:lnTo>
                  <a:lnTo>
                    <a:pt x="47012" y="404685"/>
                  </a:lnTo>
                  <a:cubicBezTo>
                    <a:pt x="47983" y="402485"/>
                    <a:pt x="49369" y="400424"/>
                    <a:pt x="51172" y="398622"/>
                  </a:cubicBezTo>
                  <a:lnTo>
                    <a:pt x="51172" y="398622"/>
                  </a:lnTo>
                  <a:lnTo>
                    <a:pt x="103092" y="346725"/>
                  </a:lnTo>
                  <a:cubicBezTo>
                    <a:pt x="64196" y="317798"/>
                    <a:pt x="30050" y="278376"/>
                    <a:pt x="2687" y="231061"/>
                  </a:cubicBezTo>
                  <a:cubicBezTo>
                    <a:pt x="-896" y="224865"/>
                    <a:pt x="-896" y="217228"/>
                    <a:pt x="2688" y="211033"/>
                  </a:cubicBezTo>
                  <a:cubicBezTo>
                    <a:pt x="64110" y="104857"/>
                    <a:pt x="157728" y="41048"/>
                    <a:pt x="260000" y="41048"/>
                  </a:cubicBezTo>
                  <a:cubicBezTo>
                    <a:pt x="301114" y="41048"/>
                    <a:pt x="341162" y="51356"/>
                    <a:pt x="378598" y="71122"/>
                  </a:cubicBezTo>
                  <a:cubicBezTo>
                    <a:pt x="378619" y="71133"/>
                    <a:pt x="378640" y="71144"/>
                    <a:pt x="378661" y="71155"/>
                  </a:cubicBezTo>
                  <a:lnTo>
                    <a:pt x="441172" y="8622"/>
                  </a:lnTo>
                  <a:cubicBezTo>
                    <a:pt x="442974" y="6819"/>
                    <a:pt x="445035" y="5433"/>
                    <a:pt x="447235" y="4462"/>
                  </a:cubicBezTo>
                  <a:close/>
                  <a:moveTo>
                    <a:pt x="420196" y="122728"/>
                  </a:moveTo>
                  <a:cubicBezTo>
                    <a:pt x="427843" y="114757"/>
                    <a:pt x="440504" y="114495"/>
                    <a:pt x="448474" y="122142"/>
                  </a:cubicBezTo>
                  <a:cubicBezTo>
                    <a:pt x="474453" y="147066"/>
                    <a:pt x="497638" y="177037"/>
                    <a:pt x="517317" y="211035"/>
                  </a:cubicBezTo>
                  <a:cubicBezTo>
                    <a:pt x="520905" y="217232"/>
                    <a:pt x="520905" y="224874"/>
                    <a:pt x="517318" y="231072"/>
                  </a:cubicBezTo>
                  <a:cubicBezTo>
                    <a:pt x="455870" y="337255"/>
                    <a:pt x="362273" y="401054"/>
                    <a:pt x="260008" y="401054"/>
                  </a:cubicBezTo>
                  <a:cubicBezTo>
                    <a:pt x="236524" y="401054"/>
                    <a:pt x="213351" y="397691"/>
                    <a:pt x="190775" y="391090"/>
                  </a:cubicBezTo>
                  <a:cubicBezTo>
                    <a:pt x="180173" y="387990"/>
                    <a:pt x="174092" y="376883"/>
                    <a:pt x="177192" y="366281"/>
                  </a:cubicBezTo>
                  <a:cubicBezTo>
                    <a:pt x="180292" y="355679"/>
                    <a:pt x="191399" y="349598"/>
                    <a:pt x="202001" y="352698"/>
                  </a:cubicBezTo>
                  <a:cubicBezTo>
                    <a:pt x="220954" y="358240"/>
                    <a:pt x="240349" y="361054"/>
                    <a:pt x="260008" y="361054"/>
                  </a:cubicBezTo>
                  <a:cubicBezTo>
                    <a:pt x="343608" y="361054"/>
                    <a:pt x="422089" y="309599"/>
                    <a:pt x="476710" y="221056"/>
                  </a:cubicBezTo>
                  <a:lnTo>
                    <a:pt x="476710" y="221056"/>
                  </a:lnTo>
                  <a:lnTo>
                    <a:pt x="471135" y="212280"/>
                  </a:lnTo>
                  <a:cubicBezTo>
                    <a:pt x="456039" y="189189"/>
                    <a:pt x="439135" y="168615"/>
                    <a:pt x="420782" y="151006"/>
                  </a:cubicBezTo>
                  <a:cubicBezTo>
                    <a:pt x="412811" y="143359"/>
                    <a:pt x="412549" y="130698"/>
                    <a:pt x="420196" y="122728"/>
                  </a:cubicBezTo>
                  <a:close/>
                  <a:moveTo>
                    <a:pt x="340002" y="201054"/>
                  </a:moveTo>
                  <a:cubicBezTo>
                    <a:pt x="351048" y="201054"/>
                    <a:pt x="360002" y="210008"/>
                    <a:pt x="360002" y="221054"/>
                  </a:cubicBezTo>
                  <a:cubicBezTo>
                    <a:pt x="360002" y="276280"/>
                    <a:pt x="315228" y="321054"/>
                    <a:pt x="260002" y="321054"/>
                  </a:cubicBezTo>
                  <a:cubicBezTo>
                    <a:pt x="248956" y="321054"/>
                    <a:pt x="240002" y="312100"/>
                    <a:pt x="240002" y="301054"/>
                  </a:cubicBezTo>
                  <a:cubicBezTo>
                    <a:pt x="240002" y="290008"/>
                    <a:pt x="248956" y="281054"/>
                    <a:pt x="260002" y="281054"/>
                  </a:cubicBezTo>
                  <a:cubicBezTo>
                    <a:pt x="293136" y="281054"/>
                    <a:pt x="320002" y="254188"/>
                    <a:pt x="320002" y="221054"/>
                  </a:cubicBezTo>
                  <a:lnTo>
                    <a:pt x="320002" y="221054"/>
                  </a:lnTo>
                  <a:lnTo>
                    <a:pt x="320137" y="218722"/>
                  </a:lnTo>
                  <a:cubicBezTo>
                    <a:pt x="321292" y="208775"/>
                    <a:pt x="329745" y="201054"/>
                    <a:pt x="340002" y="201054"/>
                  </a:cubicBezTo>
                  <a:close/>
                  <a:moveTo>
                    <a:pt x="260000" y="81048"/>
                  </a:moveTo>
                  <a:cubicBezTo>
                    <a:pt x="176392" y="81048"/>
                    <a:pt x="97894" y="132512"/>
                    <a:pt x="43294" y="221048"/>
                  </a:cubicBezTo>
                  <a:lnTo>
                    <a:pt x="43294" y="221048"/>
                  </a:lnTo>
                  <a:lnTo>
                    <a:pt x="48361" y="229049"/>
                  </a:lnTo>
                  <a:cubicBezTo>
                    <a:pt x="72337" y="265927"/>
                    <a:pt x="100894" y="296356"/>
                    <a:pt x="132505" y="318642"/>
                  </a:cubicBezTo>
                  <a:lnTo>
                    <a:pt x="131720" y="318060"/>
                  </a:lnTo>
                  <a:lnTo>
                    <a:pt x="175409" y="274387"/>
                  </a:lnTo>
                  <a:cubicBezTo>
                    <a:pt x="166363" y="260075"/>
                    <a:pt x="161074" y="243691"/>
                    <a:pt x="160143" y="226542"/>
                  </a:cubicBezTo>
                  <a:lnTo>
                    <a:pt x="159994" y="221060"/>
                  </a:lnTo>
                  <a:cubicBezTo>
                    <a:pt x="159994" y="165820"/>
                    <a:pt x="204762" y="121060"/>
                    <a:pt x="259994" y="121060"/>
                  </a:cubicBezTo>
                  <a:cubicBezTo>
                    <a:pt x="279784" y="121060"/>
                    <a:pt x="298759" y="126815"/>
                    <a:pt x="314916" y="137458"/>
                  </a:cubicBezTo>
                  <a:lnTo>
                    <a:pt x="313320" y="136460"/>
                  </a:lnTo>
                  <a:lnTo>
                    <a:pt x="348792" y="100985"/>
                  </a:lnTo>
                  <a:cubicBezTo>
                    <a:pt x="322621" y="88883"/>
                    <a:pt x="295292" y="82184"/>
                    <a:pt x="267375" y="81180"/>
                  </a:cubicBezTo>
                  <a:close/>
                  <a:moveTo>
                    <a:pt x="259994" y="161060"/>
                  </a:moveTo>
                  <a:cubicBezTo>
                    <a:pt x="226852" y="161060"/>
                    <a:pt x="199994" y="187913"/>
                    <a:pt x="199994" y="221060"/>
                  </a:cubicBezTo>
                  <a:cubicBezTo>
                    <a:pt x="199994" y="229394"/>
                    <a:pt x="201690" y="237450"/>
                    <a:pt x="204909" y="244868"/>
                  </a:cubicBezTo>
                  <a:lnTo>
                    <a:pt x="283826" y="165952"/>
                  </a:lnTo>
                  <a:cubicBezTo>
                    <a:pt x="276420" y="162749"/>
                    <a:pt x="268352" y="161060"/>
                    <a:pt x="259994" y="161060"/>
                  </a:cubicBezTo>
                  <a:close/>
                </a:path>
              </a:pathLst>
            </a:custGeom>
            <a:gradFill>
              <a:gsLst>
                <a:gs pos="0">
                  <a:srgbClr val="00D756"/>
                </a:gs>
                <a:gs pos="99000">
                  <a:srgbClr val="27C6E5"/>
                </a:gs>
              </a:gsLst>
              <a:lin ang="0" scaled="0"/>
            </a:gradFill>
            <a:ln w="1984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 sz="2800"/>
            </a:p>
          </p:txBody>
        </p:sp>
        <p:sp>
          <p:nvSpPr>
            <p:cNvPr id="69" name="Rounded Rectangle 48">
              <a:extLst>
                <a:ext uri="{FF2B5EF4-FFF2-40B4-BE49-F238E27FC236}">
                  <a16:creationId xmlns:a16="http://schemas.microsoft.com/office/drawing/2014/main" id="{99B20746-CEE5-9347-8FF1-15EFE1348D43}"/>
                </a:ext>
              </a:extLst>
            </p:cNvPr>
            <p:cNvSpPr/>
            <p:nvPr/>
          </p:nvSpPr>
          <p:spPr>
            <a:xfrm>
              <a:off x="439381" y="5641409"/>
              <a:ext cx="6554272" cy="720000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799883" rtlCol="0" anchor="ctr"/>
            <a:lstStyle/>
            <a:p>
              <a:r>
                <a:rPr lang="en-US" sz="2800" dirty="0">
                  <a:solidFill>
                    <a:schemeClr val="tx1"/>
                  </a:solidFill>
                </a:rPr>
                <a:t>— </a:t>
              </a:r>
              <a:r>
                <a:rPr lang="ru-RU" sz="2800" dirty="0">
                  <a:solidFill>
                    <a:schemeClr val="tx1"/>
                  </a:solidFill>
                </a:rPr>
                <a:t>Запрет подключения для неавторизованных пользователей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93523371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BE326A8B-1F9A-6A41-B73D-6D065FDE513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61731" y="814613"/>
            <a:ext cx="20779455" cy="1450882"/>
          </a:xfrm>
        </p:spPr>
        <p:txBody>
          <a:bodyPr/>
          <a:lstStyle/>
          <a:p>
            <a:pPr defTabSz="914354">
              <a:defRPr/>
            </a:pPr>
            <a:r>
              <a:rPr lang="en-US" sz="11999" dirty="0" err="1">
                <a:gradFill flip="none" rotWithShape="1">
                  <a:gsLst>
                    <a:gs pos="0">
                      <a:srgbClr val="00D756"/>
                    </a:gs>
                    <a:gs pos="99000">
                      <a:srgbClr val="27C6E5"/>
                    </a:gs>
                  </a:gsLst>
                  <a:lin ang="10800000" scaled="1"/>
                  <a:tileRect/>
                </a:gradFill>
                <a:cs typeface="SB Sans Display" panose="020B0503040504020204" pitchFamily="34" charset="0"/>
              </a:rPr>
              <a:t>SaluteBot</a:t>
            </a:r>
            <a:endParaRPr lang="ru-RU" sz="11999" dirty="0">
              <a:gradFill flip="none" rotWithShape="1">
                <a:gsLst>
                  <a:gs pos="0">
                    <a:srgbClr val="00D756"/>
                  </a:gs>
                  <a:gs pos="99000">
                    <a:srgbClr val="27C6E5"/>
                  </a:gs>
                </a:gsLst>
                <a:lin ang="10800000" scaled="1"/>
                <a:tileRect/>
              </a:gradFill>
              <a:cs typeface="SB Sans Display" panose="020B0503040504020204" pitchFamily="34" charset="0"/>
            </a:endParaRPr>
          </a:p>
          <a:p>
            <a:pPr defTabSz="914354">
              <a:defRPr/>
            </a:pPr>
            <a:endParaRPr lang="ru-RU" alt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3102EFD-DD46-5848-AEA5-928ED002FA9E}"/>
              </a:ext>
            </a:extLst>
          </p:cNvPr>
          <p:cNvSpPr txBox="1"/>
          <p:nvPr/>
        </p:nvSpPr>
        <p:spPr>
          <a:xfrm>
            <a:off x="1516127" y="4657511"/>
            <a:ext cx="12507730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4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матизируйте обработку обращений граждан на сайте, в мессенджерах:</a:t>
            </a:r>
          </a:p>
        </p:txBody>
      </p:sp>
      <p:sp>
        <p:nvSpPr>
          <p:cNvPr id="16" name="Объединение 11">
            <a:extLst>
              <a:ext uri="{FF2B5EF4-FFF2-40B4-BE49-F238E27FC236}">
                <a16:creationId xmlns:a16="http://schemas.microsoft.com/office/drawing/2014/main" id="{060FD130-CB91-C748-97DF-F96612FF934D}"/>
              </a:ext>
            </a:extLst>
          </p:cNvPr>
          <p:cNvSpPr/>
          <p:nvPr/>
        </p:nvSpPr>
        <p:spPr>
          <a:xfrm rot="1949020">
            <a:off x="14505228" y="8230844"/>
            <a:ext cx="1327408" cy="99111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5000 w 10000"/>
              <a:gd name="connsiteY2" fmla="*/ 10000 h 10000"/>
              <a:gd name="connsiteX3" fmla="*/ 0 w 10000"/>
              <a:gd name="connsiteY3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5000 w 10000"/>
              <a:gd name="connsiteY2" fmla="*/ 10000 h 10000"/>
              <a:gd name="connsiteX3" fmla="*/ 0 w 10000"/>
              <a:gd name="connsiteY3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5000 w 10000"/>
              <a:gd name="connsiteY2" fmla="*/ 10000 h 10000"/>
              <a:gd name="connsiteX3" fmla="*/ 0 w 10000"/>
              <a:gd name="connsiteY3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5000 w 10000"/>
              <a:gd name="connsiteY2" fmla="*/ 10000 h 10000"/>
              <a:gd name="connsiteX3" fmla="*/ 0 w 10000"/>
              <a:gd name="connsiteY3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5000 w 10000"/>
              <a:gd name="connsiteY2" fmla="*/ 10000 h 10000"/>
              <a:gd name="connsiteX3" fmla="*/ 0 w 10000"/>
              <a:gd name="connsiteY3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5000 w 10000"/>
              <a:gd name="connsiteY2" fmla="*/ 10000 h 10000"/>
              <a:gd name="connsiteX3" fmla="*/ 0 w 10000"/>
              <a:gd name="connsiteY3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5000 w 10000"/>
              <a:gd name="connsiteY2" fmla="*/ 10000 h 10000"/>
              <a:gd name="connsiteX3" fmla="*/ 0 w 10000"/>
              <a:gd name="connsiteY3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5000 w 10000"/>
              <a:gd name="connsiteY2" fmla="*/ 10000 h 10000"/>
              <a:gd name="connsiteX3" fmla="*/ 0 w 10000"/>
              <a:gd name="connsiteY3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10000">
                <a:moveTo>
                  <a:pt x="0" y="0"/>
                </a:moveTo>
                <a:lnTo>
                  <a:pt x="10000" y="0"/>
                </a:lnTo>
                <a:cubicBezTo>
                  <a:pt x="9568" y="2757"/>
                  <a:pt x="6455" y="8370"/>
                  <a:pt x="5000" y="10000"/>
                </a:cubicBezTo>
                <a:cubicBezTo>
                  <a:pt x="7067" y="2726"/>
                  <a:pt x="5558" y="2714"/>
                  <a:pt x="0" y="0"/>
                </a:cubicBezTo>
                <a:close/>
              </a:path>
            </a:pathLst>
          </a:custGeom>
          <a:solidFill>
            <a:srgbClr val="42D0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Скругленный прямоугольник 16">
            <a:extLst>
              <a:ext uri="{FF2B5EF4-FFF2-40B4-BE49-F238E27FC236}">
                <a16:creationId xmlns:a16="http://schemas.microsoft.com/office/drawing/2014/main" id="{05621B38-4CFD-7A43-8713-7F8684CA6E32}"/>
              </a:ext>
            </a:extLst>
          </p:cNvPr>
          <p:cNvSpPr/>
          <p:nvPr/>
        </p:nvSpPr>
        <p:spPr>
          <a:xfrm rot="10800000">
            <a:off x="14763594" y="1805295"/>
            <a:ext cx="6903039" cy="6903039"/>
          </a:xfrm>
          <a:prstGeom prst="roundRect">
            <a:avLst>
              <a:gd name="adj" fmla="val 5898"/>
            </a:avLst>
          </a:prstGeom>
          <a:gradFill>
            <a:gsLst>
              <a:gs pos="33000">
                <a:schemeClr val="bg1"/>
              </a:gs>
              <a:gs pos="100000">
                <a:srgbClr val="23C8D6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7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06E52855-5B3F-5F42-BE97-5F4D9459D861}"/>
              </a:ext>
            </a:extLst>
          </p:cNvPr>
          <p:cNvGrpSpPr/>
          <p:nvPr/>
        </p:nvGrpSpPr>
        <p:grpSpPr>
          <a:xfrm>
            <a:off x="1582658" y="6626744"/>
            <a:ext cx="12441200" cy="5310944"/>
            <a:chOff x="916286" y="3408059"/>
            <a:chExt cx="5601276" cy="2039571"/>
          </a:xfrm>
          <a:solidFill>
            <a:srgbClr val="222555"/>
          </a:solidFill>
        </p:grpSpPr>
        <p:sp>
          <p:nvSpPr>
            <p:cNvPr id="21" name="Скругленный прямоугольник 20">
              <a:extLst>
                <a:ext uri="{FF2B5EF4-FFF2-40B4-BE49-F238E27FC236}">
                  <a16:creationId xmlns:a16="http://schemas.microsoft.com/office/drawing/2014/main" id="{1354C646-A912-464B-93AD-A09FCCDE4767}"/>
                </a:ext>
              </a:extLst>
            </p:cNvPr>
            <p:cNvSpPr/>
            <p:nvPr/>
          </p:nvSpPr>
          <p:spPr>
            <a:xfrm>
              <a:off x="916286" y="3408219"/>
              <a:ext cx="1806132" cy="976745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Скругленный прямоугольник 21">
              <a:extLst>
                <a:ext uri="{FF2B5EF4-FFF2-40B4-BE49-F238E27FC236}">
                  <a16:creationId xmlns:a16="http://schemas.microsoft.com/office/drawing/2014/main" id="{5A4AB56A-A030-D640-909B-BB80D8584C3A}"/>
                </a:ext>
              </a:extLst>
            </p:cNvPr>
            <p:cNvSpPr/>
            <p:nvPr/>
          </p:nvSpPr>
          <p:spPr>
            <a:xfrm>
              <a:off x="2813858" y="3408219"/>
              <a:ext cx="1806132" cy="976745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Скругленный прямоугольник 22">
              <a:extLst>
                <a:ext uri="{FF2B5EF4-FFF2-40B4-BE49-F238E27FC236}">
                  <a16:creationId xmlns:a16="http://schemas.microsoft.com/office/drawing/2014/main" id="{A422BB4E-CB56-7041-988E-FC8B6854A66F}"/>
                </a:ext>
              </a:extLst>
            </p:cNvPr>
            <p:cNvSpPr/>
            <p:nvPr/>
          </p:nvSpPr>
          <p:spPr>
            <a:xfrm>
              <a:off x="4711430" y="3408058"/>
              <a:ext cx="1806132" cy="976745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Скругленный прямоугольник 23">
              <a:extLst>
                <a:ext uri="{FF2B5EF4-FFF2-40B4-BE49-F238E27FC236}">
                  <a16:creationId xmlns:a16="http://schemas.microsoft.com/office/drawing/2014/main" id="{06B15274-1800-1743-AF48-6621FF231BF7}"/>
                </a:ext>
              </a:extLst>
            </p:cNvPr>
            <p:cNvSpPr/>
            <p:nvPr/>
          </p:nvSpPr>
          <p:spPr>
            <a:xfrm>
              <a:off x="916286" y="4470884"/>
              <a:ext cx="1806132" cy="976745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Скругленный прямоугольник 24">
              <a:extLst>
                <a:ext uri="{FF2B5EF4-FFF2-40B4-BE49-F238E27FC236}">
                  <a16:creationId xmlns:a16="http://schemas.microsoft.com/office/drawing/2014/main" id="{0718FEEB-949A-8C4C-A6DE-870DFB01AC7F}"/>
                </a:ext>
              </a:extLst>
            </p:cNvPr>
            <p:cNvSpPr/>
            <p:nvPr/>
          </p:nvSpPr>
          <p:spPr>
            <a:xfrm>
              <a:off x="2813858" y="4470884"/>
              <a:ext cx="1806132" cy="976745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Скругленный прямоугольник 25">
              <a:extLst>
                <a:ext uri="{FF2B5EF4-FFF2-40B4-BE49-F238E27FC236}">
                  <a16:creationId xmlns:a16="http://schemas.microsoft.com/office/drawing/2014/main" id="{FDB30A78-4586-484F-B9FD-A23AF19936E3}"/>
                </a:ext>
              </a:extLst>
            </p:cNvPr>
            <p:cNvSpPr/>
            <p:nvPr/>
          </p:nvSpPr>
          <p:spPr>
            <a:xfrm>
              <a:off x="4711430" y="4470723"/>
              <a:ext cx="1806132" cy="976745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E4A3913E-5F8A-4347-A7C6-E0A2BE0F4E08}"/>
              </a:ext>
            </a:extLst>
          </p:cNvPr>
          <p:cNvSpPr txBox="1"/>
          <p:nvPr/>
        </p:nvSpPr>
        <p:spPr>
          <a:xfrm>
            <a:off x="1899001" y="10272821"/>
            <a:ext cx="316350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ность отвечать на типовые вопросы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E0DE6E7-3F02-7248-8C41-182153E9CBC9}"/>
              </a:ext>
            </a:extLst>
          </p:cNvPr>
          <p:cNvSpPr txBox="1"/>
          <p:nvPr/>
        </p:nvSpPr>
        <p:spPr>
          <a:xfrm>
            <a:off x="5972594" y="7691643"/>
            <a:ext cx="401166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гкий поиск по большому объему данных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C29F042-297B-A247-A92E-5F1A45B397C3}"/>
              </a:ext>
            </a:extLst>
          </p:cNvPr>
          <p:cNvSpPr txBox="1"/>
          <p:nvPr/>
        </p:nvSpPr>
        <p:spPr>
          <a:xfrm>
            <a:off x="10332530" y="7727130"/>
            <a:ext cx="368842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легчение коммуникации  с жителями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64F7020-7364-F645-BE4E-A6558B41AA46}"/>
              </a:ext>
            </a:extLst>
          </p:cNvPr>
          <p:cNvSpPr txBox="1"/>
          <p:nvPr/>
        </p:nvSpPr>
        <p:spPr>
          <a:xfrm>
            <a:off x="1899001" y="7604643"/>
            <a:ext cx="348946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формирование о мероприятиях, событиях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13429F8-7EF7-C24A-AE2C-73A33BCE72D5}"/>
              </a:ext>
            </a:extLst>
          </p:cNvPr>
          <p:cNvSpPr txBox="1"/>
          <p:nvPr/>
        </p:nvSpPr>
        <p:spPr>
          <a:xfrm>
            <a:off x="6036777" y="10130116"/>
            <a:ext cx="3364589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учение информации из разных источников в одном окне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5D8BDF3-8869-AA4A-AC64-2FC579D2A2EB}"/>
              </a:ext>
            </a:extLst>
          </p:cNvPr>
          <p:cNvSpPr txBox="1"/>
          <p:nvPr/>
        </p:nvSpPr>
        <p:spPr>
          <a:xfrm>
            <a:off x="10356852" y="10060287"/>
            <a:ext cx="421302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ыстрое взаимодействие с гражданами и сотрудниками</a:t>
            </a:r>
          </a:p>
        </p:txBody>
      </p:sp>
      <p:sp>
        <p:nvSpPr>
          <p:cNvPr id="39" name="Скругленный прямоугольник 38">
            <a:extLst>
              <a:ext uri="{FF2B5EF4-FFF2-40B4-BE49-F238E27FC236}">
                <a16:creationId xmlns:a16="http://schemas.microsoft.com/office/drawing/2014/main" id="{D57917EA-EEA2-774A-9371-F3E5766CD59D}"/>
              </a:ext>
            </a:extLst>
          </p:cNvPr>
          <p:cNvSpPr/>
          <p:nvPr/>
        </p:nvSpPr>
        <p:spPr>
          <a:xfrm>
            <a:off x="4612699" y="6824142"/>
            <a:ext cx="769902" cy="769902"/>
          </a:xfrm>
          <a:prstGeom prst="roundRect">
            <a:avLst>
              <a:gd name="adj" fmla="val 50000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1" name="Скругленный прямоугольник 40">
            <a:extLst>
              <a:ext uri="{FF2B5EF4-FFF2-40B4-BE49-F238E27FC236}">
                <a16:creationId xmlns:a16="http://schemas.microsoft.com/office/drawing/2014/main" id="{FE0F2F75-B933-7D45-9A2A-BEA61C03444B}"/>
              </a:ext>
            </a:extLst>
          </p:cNvPr>
          <p:cNvSpPr/>
          <p:nvPr/>
        </p:nvSpPr>
        <p:spPr>
          <a:xfrm>
            <a:off x="8821819" y="6816675"/>
            <a:ext cx="769902" cy="769902"/>
          </a:xfrm>
          <a:prstGeom prst="roundRect">
            <a:avLst>
              <a:gd name="adj" fmla="val 50000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42" name="Скругленный прямоугольник 41">
            <a:extLst>
              <a:ext uri="{FF2B5EF4-FFF2-40B4-BE49-F238E27FC236}">
                <a16:creationId xmlns:a16="http://schemas.microsoft.com/office/drawing/2014/main" id="{F8333D50-F389-F54E-AEE5-E3067DBABD9E}"/>
              </a:ext>
            </a:extLst>
          </p:cNvPr>
          <p:cNvSpPr/>
          <p:nvPr/>
        </p:nvSpPr>
        <p:spPr>
          <a:xfrm>
            <a:off x="13036587" y="6834741"/>
            <a:ext cx="769902" cy="769902"/>
          </a:xfrm>
          <a:prstGeom prst="roundRect">
            <a:avLst>
              <a:gd name="adj" fmla="val 50000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43" name="Скругленный прямоугольник 42">
            <a:extLst>
              <a:ext uri="{FF2B5EF4-FFF2-40B4-BE49-F238E27FC236}">
                <a16:creationId xmlns:a16="http://schemas.microsoft.com/office/drawing/2014/main" id="{3DC8A099-0E52-B84E-A0C9-F2C57EAC2729}"/>
              </a:ext>
            </a:extLst>
          </p:cNvPr>
          <p:cNvSpPr/>
          <p:nvPr/>
        </p:nvSpPr>
        <p:spPr>
          <a:xfrm>
            <a:off x="4617541" y="9599413"/>
            <a:ext cx="769902" cy="769902"/>
          </a:xfrm>
          <a:prstGeom prst="roundRect">
            <a:avLst>
              <a:gd name="adj" fmla="val 50000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44" name="Скругленный прямоугольник 43">
            <a:extLst>
              <a:ext uri="{FF2B5EF4-FFF2-40B4-BE49-F238E27FC236}">
                <a16:creationId xmlns:a16="http://schemas.microsoft.com/office/drawing/2014/main" id="{59840EC1-5743-F14D-96DB-AF7BEF42163A}"/>
              </a:ext>
            </a:extLst>
          </p:cNvPr>
          <p:cNvSpPr/>
          <p:nvPr/>
        </p:nvSpPr>
        <p:spPr>
          <a:xfrm>
            <a:off x="8826661" y="9591948"/>
            <a:ext cx="769902" cy="769902"/>
          </a:xfrm>
          <a:prstGeom prst="roundRect">
            <a:avLst>
              <a:gd name="adj" fmla="val 50000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45" name="Скругленный прямоугольник 44">
            <a:extLst>
              <a:ext uri="{FF2B5EF4-FFF2-40B4-BE49-F238E27FC236}">
                <a16:creationId xmlns:a16="http://schemas.microsoft.com/office/drawing/2014/main" id="{48DCD422-4D32-414C-8274-6A3C632217FA}"/>
              </a:ext>
            </a:extLst>
          </p:cNvPr>
          <p:cNvSpPr/>
          <p:nvPr/>
        </p:nvSpPr>
        <p:spPr>
          <a:xfrm>
            <a:off x="13041427" y="9610015"/>
            <a:ext cx="769902" cy="769902"/>
          </a:xfrm>
          <a:prstGeom prst="roundRect">
            <a:avLst>
              <a:gd name="adj" fmla="val 50000"/>
            </a:avLst>
          </a:prstGeom>
          <a:solidFill>
            <a:schemeClr val="bg1">
              <a:alpha val="1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</a:p>
        </p:txBody>
      </p:sp>
      <p:pic>
        <p:nvPicPr>
          <p:cNvPr id="46" name="Picture 2">
            <a:extLst>
              <a:ext uri="{FF2B5EF4-FFF2-40B4-BE49-F238E27FC236}">
                <a16:creationId xmlns:a16="http://schemas.microsoft.com/office/drawing/2014/main" id="{E317FB30-A5C9-4F41-993D-23E909510A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96829" y="9369637"/>
            <a:ext cx="2541073" cy="2541073"/>
          </a:xfrm>
          <a:prstGeom prst="roundRect">
            <a:avLst>
              <a:gd name="adj" fmla="val 13531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2766EA09-FFEB-B144-9837-5AB0705371DB}"/>
              </a:ext>
            </a:extLst>
          </p:cNvPr>
          <p:cNvSpPr/>
          <p:nvPr/>
        </p:nvSpPr>
        <p:spPr>
          <a:xfrm>
            <a:off x="14640735" y="12485916"/>
            <a:ext cx="8261236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>
                <a:solidFill>
                  <a:schemeClr val="bg1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evelopers.sber.ru/portal/products/smartbot-chat-bot</a:t>
            </a:r>
            <a:endParaRPr lang="ru-RU" sz="2400" dirty="0">
              <a:solidFill>
                <a:schemeClr val="bg1"/>
              </a:solidFill>
            </a:endParaRPr>
          </a:p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48" name="Picture 2">
            <a:extLst>
              <a:ext uri="{FF2B5EF4-FFF2-40B4-BE49-F238E27FC236}">
                <a16:creationId xmlns:a16="http://schemas.microsoft.com/office/drawing/2014/main" id="{9CEFF506-2BCC-814D-B81F-A7C4CD3635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660" r="27492"/>
          <a:stretch/>
        </p:blipFill>
        <p:spPr bwMode="auto">
          <a:xfrm>
            <a:off x="15772305" y="2511548"/>
            <a:ext cx="5246890" cy="58500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9" name="Группа 48">
            <a:extLst>
              <a:ext uri="{FF2B5EF4-FFF2-40B4-BE49-F238E27FC236}">
                <a16:creationId xmlns:a16="http://schemas.microsoft.com/office/drawing/2014/main" id="{D54E10DD-0856-2D46-B9E7-DD36F4BA074A}"/>
              </a:ext>
            </a:extLst>
          </p:cNvPr>
          <p:cNvGrpSpPr/>
          <p:nvPr/>
        </p:nvGrpSpPr>
        <p:grpSpPr>
          <a:xfrm>
            <a:off x="17688244" y="10212968"/>
            <a:ext cx="707506" cy="701978"/>
            <a:chOff x="-3215538" y="98081"/>
            <a:chExt cx="530699" cy="526553"/>
          </a:xfrm>
        </p:grpSpPr>
        <p:sp>
          <p:nvSpPr>
            <p:cNvPr id="50" name="Скругленный прямоугольник 49">
              <a:extLst>
                <a:ext uri="{FF2B5EF4-FFF2-40B4-BE49-F238E27FC236}">
                  <a16:creationId xmlns:a16="http://schemas.microsoft.com/office/drawing/2014/main" id="{B6AFA576-B453-724C-B237-2A220472478B}"/>
                </a:ext>
              </a:extLst>
            </p:cNvPr>
            <p:cNvSpPr/>
            <p:nvPr/>
          </p:nvSpPr>
          <p:spPr>
            <a:xfrm>
              <a:off x="-3215538" y="98081"/>
              <a:ext cx="414877" cy="414877"/>
            </a:xfrm>
            <a:prstGeom prst="roundRect">
              <a:avLst>
                <a:gd name="adj" fmla="val 30254"/>
              </a:avLst>
            </a:prstGeom>
            <a:solidFill>
              <a:srgbClr val="AED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AU" sz="2118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Скругленный прямоугольник 50">
              <a:extLst>
                <a:ext uri="{FF2B5EF4-FFF2-40B4-BE49-F238E27FC236}">
                  <a16:creationId xmlns:a16="http://schemas.microsoft.com/office/drawing/2014/main" id="{4D3BE0BC-BB1C-4649-95E1-6822CC3AC716}"/>
                </a:ext>
              </a:extLst>
            </p:cNvPr>
            <p:cNvSpPr/>
            <p:nvPr/>
          </p:nvSpPr>
          <p:spPr>
            <a:xfrm>
              <a:off x="-3099716" y="209757"/>
              <a:ext cx="414877" cy="414877"/>
            </a:xfrm>
            <a:prstGeom prst="roundRect">
              <a:avLst>
                <a:gd name="adj" fmla="val 30254"/>
              </a:avLst>
            </a:prstGeom>
            <a:solidFill>
              <a:srgbClr val="AED600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AU" sz="2118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2" name="Группа 51">
            <a:extLst>
              <a:ext uri="{FF2B5EF4-FFF2-40B4-BE49-F238E27FC236}">
                <a16:creationId xmlns:a16="http://schemas.microsoft.com/office/drawing/2014/main" id="{1A301811-B741-7D40-825D-6DE5D59FA5F0}"/>
              </a:ext>
            </a:extLst>
          </p:cNvPr>
          <p:cNvGrpSpPr/>
          <p:nvPr/>
        </p:nvGrpSpPr>
        <p:grpSpPr>
          <a:xfrm>
            <a:off x="17688245" y="11196601"/>
            <a:ext cx="728567" cy="737802"/>
            <a:chOff x="-1771051" y="59857"/>
            <a:chExt cx="546495" cy="553423"/>
          </a:xfrm>
        </p:grpSpPr>
        <p:sp>
          <p:nvSpPr>
            <p:cNvPr id="53" name="Скругленный прямоугольник 52">
              <a:extLst>
                <a:ext uri="{FF2B5EF4-FFF2-40B4-BE49-F238E27FC236}">
                  <a16:creationId xmlns:a16="http://schemas.microsoft.com/office/drawing/2014/main" id="{6A02FB6A-2466-0A40-AAB8-EFE610699BF0}"/>
                </a:ext>
              </a:extLst>
            </p:cNvPr>
            <p:cNvSpPr/>
            <p:nvPr/>
          </p:nvSpPr>
          <p:spPr>
            <a:xfrm>
              <a:off x="-1771051" y="59857"/>
              <a:ext cx="414877" cy="414877"/>
            </a:xfrm>
            <a:prstGeom prst="roundRect">
              <a:avLst>
                <a:gd name="adj" fmla="val 30254"/>
              </a:avLst>
            </a:prstGeom>
            <a:solidFill>
              <a:srgbClr val="0081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AU" sz="2118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Скругленный прямоугольник 53">
              <a:extLst>
                <a:ext uri="{FF2B5EF4-FFF2-40B4-BE49-F238E27FC236}">
                  <a16:creationId xmlns:a16="http://schemas.microsoft.com/office/drawing/2014/main" id="{574DC1B1-EDFB-4244-AA83-22A9B37DA640}"/>
                </a:ext>
              </a:extLst>
            </p:cNvPr>
            <p:cNvSpPr/>
            <p:nvPr/>
          </p:nvSpPr>
          <p:spPr>
            <a:xfrm>
              <a:off x="-1639433" y="198403"/>
              <a:ext cx="414877" cy="414877"/>
            </a:xfrm>
            <a:prstGeom prst="roundRect">
              <a:avLst>
                <a:gd name="adj" fmla="val 30254"/>
              </a:avLst>
            </a:prstGeom>
            <a:solidFill>
              <a:srgbClr val="0081E8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AU" sz="2118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5" name="Object7">
            <a:extLst>
              <a:ext uri="{FF2B5EF4-FFF2-40B4-BE49-F238E27FC236}">
                <a16:creationId xmlns:a16="http://schemas.microsoft.com/office/drawing/2014/main" id="{C1303E3D-E34D-374B-B75B-FFE0C039C373}"/>
              </a:ext>
            </a:extLst>
          </p:cNvPr>
          <p:cNvSpPr/>
          <p:nvPr/>
        </p:nvSpPr>
        <p:spPr>
          <a:xfrm>
            <a:off x="14763596" y="6849036"/>
            <a:ext cx="6875106" cy="842607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 algn="ctr">
              <a:spcAft>
                <a:spcPts val="1200"/>
              </a:spcAft>
            </a:pPr>
            <a:r>
              <a:rPr lang="ru-RU" sz="4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Привет!</a:t>
            </a:r>
          </a:p>
        </p:txBody>
      </p:sp>
      <p:sp>
        <p:nvSpPr>
          <p:cNvPr id="56" name="Object7">
            <a:extLst>
              <a:ext uri="{FF2B5EF4-FFF2-40B4-BE49-F238E27FC236}">
                <a16:creationId xmlns:a16="http://schemas.microsoft.com/office/drawing/2014/main" id="{1216A002-4E89-E943-A000-7701197E4639}"/>
              </a:ext>
            </a:extLst>
          </p:cNvPr>
          <p:cNvSpPr/>
          <p:nvPr/>
        </p:nvSpPr>
        <p:spPr>
          <a:xfrm>
            <a:off x="18603818" y="10361849"/>
            <a:ext cx="10586179" cy="842607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spcAft>
                <a:spcPts val="1200"/>
              </a:spcAft>
            </a:pPr>
            <a:r>
              <a:rPr lang="ru-RU" sz="2800" dirty="0">
                <a:solidFill>
                  <a:schemeClr val="bg1"/>
                </a:solidFill>
              </a:rPr>
              <a:t>Чат-бот</a:t>
            </a:r>
          </a:p>
        </p:txBody>
      </p:sp>
      <p:sp>
        <p:nvSpPr>
          <p:cNvPr id="57" name="Object7">
            <a:extLst>
              <a:ext uri="{FF2B5EF4-FFF2-40B4-BE49-F238E27FC236}">
                <a16:creationId xmlns:a16="http://schemas.microsoft.com/office/drawing/2014/main" id="{48C9A416-5983-A34A-BEA2-E57C13E58307}"/>
              </a:ext>
            </a:extLst>
          </p:cNvPr>
          <p:cNvSpPr/>
          <p:nvPr/>
        </p:nvSpPr>
        <p:spPr>
          <a:xfrm>
            <a:off x="18603818" y="11440089"/>
            <a:ext cx="10586179" cy="842607"/>
          </a:xfrm>
          <a:prstGeom prst="rect">
            <a:avLst/>
          </a:prstGeom>
          <a:noFill/>
          <a:ln/>
        </p:spPr>
        <p:txBody>
          <a:bodyPr wrap="square" lIns="0" tIns="0" rIns="0" bIns="0" rtlCol="0" anchor="t"/>
          <a:lstStyle/>
          <a:p>
            <a:pPr>
              <a:spcAft>
                <a:spcPts val="1200"/>
              </a:spcAft>
            </a:pPr>
            <a:r>
              <a:rPr lang="ru-RU" sz="2800" dirty="0">
                <a:solidFill>
                  <a:schemeClr val="bg1"/>
                </a:solidFill>
              </a:rPr>
              <a:t>Виртуальный оператор</a:t>
            </a:r>
          </a:p>
        </p:txBody>
      </p:sp>
      <p:sp>
        <p:nvSpPr>
          <p:cNvPr id="40" name="Скругленный прямоугольник 39">
            <a:extLst>
              <a:ext uri="{FF2B5EF4-FFF2-40B4-BE49-F238E27FC236}">
                <a16:creationId xmlns:a16="http://schemas.microsoft.com/office/drawing/2014/main" id="{814AE31B-DBE5-B745-BFF2-5583E9F3B325}"/>
              </a:ext>
            </a:extLst>
          </p:cNvPr>
          <p:cNvSpPr/>
          <p:nvPr/>
        </p:nvSpPr>
        <p:spPr>
          <a:xfrm>
            <a:off x="2717609" y="12339823"/>
            <a:ext cx="10104766" cy="1005907"/>
          </a:xfrm>
          <a:prstGeom prst="roundRect">
            <a:avLst/>
          </a:prstGeom>
          <a:solidFill>
            <a:srgbClr val="F0F0F0">
              <a:alpha val="50000"/>
            </a:srgbClr>
          </a:solidFill>
          <a:ln>
            <a:noFill/>
          </a:ln>
          <a:effectLst/>
        </p:spPr>
        <p:txBody>
          <a:bodyPr rtlCol="0" anchor="ctr"/>
          <a:lstStyle/>
          <a:p>
            <a:pPr algn="ctr" defTabSz="1828709">
              <a:defRPr/>
            </a:pPr>
            <a:r>
              <a:rPr lang="ru-RU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ключен в реестр Отечественного ПО</a:t>
            </a:r>
            <a:endParaRPr lang="en-US" sz="2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пись в реестре  №14985 от 26.09.2022</a:t>
            </a:r>
          </a:p>
        </p:txBody>
      </p:sp>
    </p:spTree>
    <p:extLst>
      <p:ext uri="{BB962C8B-B14F-4D97-AF65-F5344CB8AC3E}">
        <p14:creationId xmlns:p14="http://schemas.microsoft.com/office/powerpoint/2010/main" val="32661503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ODD26kIfL9UDN64YIr7Q"/>
</p:tagLst>
</file>

<file path=ppt/theme/theme1.xml><?xml version="1.0" encoding="utf-8"?>
<a:theme xmlns:a="http://schemas.openxmlformats.org/drawingml/2006/main" name="Yandex">
  <a:themeElements>
    <a:clrScheme name="Пользовательские 4">
      <a:dk1>
        <a:srgbClr val="000000"/>
      </a:dk1>
      <a:lt1>
        <a:srgbClr val="FFFFFF"/>
      </a:lt1>
      <a:dk2>
        <a:srgbClr val="0068F0"/>
      </a:dk2>
      <a:lt2>
        <a:srgbClr val="F1F1F1"/>
      </a:lt2>
      <a:accent1>
        <a:srgbClr val="05BC6C"/>
      </a:accent1>
      <a:accent2>
        <a:srgbClr val="9FF454"/>
      </a:accent2>
      <a:accent3>
        <a:srgbClr val="72F0D9"/>
      </a:accent3>
      <a:accent4>
        <a:srgbClr val="FE0363"/>
      </a:accent4>
      <a:accent5>
        <a:srgbClr val="FF7900"/>
      </a:accent5>
      <a:accent6>
        <a:srgbClr val="FAEE00"/>
      </a:accent6>
      <a:hlink>
        <a:srgbClr val="2D404A"/>
      </a:hlink>
      <a:folHlink>
        <a:srgbClr val="2D404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19050">
          <a:solidFill>
            <a:schemeClr val="bg2"/>
          </a:solidFill>
        </a:ln>
        <a:effectLst/>
      </a:spPr>
      <a:bodyPr lIns="90000" tIns="216000" rIns="90000" bIns="216000" rtlCol="0" anchor="ctr" anchorCtr="0"/>
      <a:lstStyle>
        <a:defPPr algn="ctr">
          <a:lnSpc>
            <a:spcPct val="90000"/>
          </a:lnSpc>
          <a:defRPr sz="3200" dirty="0">
            <a:ln w="0"/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tx1"/>
          </a:solidFill>
          <a:prstDash val="solid"/>
          <a:headEnd type="none" w="lg" len="med"/>
          <a:tailEnd type="none" w="lg" len="med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3200" dirty="0" err="1" smtClean="0">
            <a:solidFill>
              <a:sysClr val="windowText" lastClr="000000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9789</TotalTime>
  <Words>1365</Words>
  <Application>Microsoft Macintosh PowerPoint</Application>
  <PresentationFormat>Произвольный</PresentationFormat>
  <Paragraphs>218</Paragraphs>
  <Slides>21</Slides>
  <Notes>10</Notes>
  <HiddenSlides>0</HiddenSlides>
  <MMClips>6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1</vt:i4>
      </vt:variant>
    </vt:vector>
  </HeadingPairs>
  <TitlesOfParts>
    <vt:vector size="29" baseType="lpstr">
      <vt:lpstr>Системный шрифт, обычный</vt:lpstr>
      <vt:lpstr>Arial</vt:lpstr>
      <vt:lpstr>Calibri</vt:lpstr>
      <vt:lpstr>SB Sans Display</vt:lpstr>
      <vt:lpstr>Segoe UI</vt:lpstr>
      <vt:lpstr>System Font Regular</vt:lpstr>
      <vt:lpstr>Yandex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Manager>Maria Kutuzova</Manager>
  <Company>Yandex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subject>show_YST</dc:subject>
  <dc:creator>presentation</dc:creator>
  <cp:keywords/>
  <dc:description/>
  <cp:lastModifiedBy>Microsoft Office User</cp:lastModifiedBy>
  <cp:revision>2285</cp:revision>
  <cp:lastPrinted>2021-04-20T14:46:47Z</cp:lastPrinted>
  <dcterms:created xsi:type="dcterms:W3CDTF">2014-09-09T08:22:07Z</dcterms:created>
  <dcterms:modified xsi:type="dcterms:W3CDTF">2023-02-14T13:31:27Z</dcterms:modified>
  <cp:category>presentation technology</cp:category>
</cp:coreProperties>
</file>